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2.xml" ContentType="application/vnd.openxmlformats-officedocument.presentationml.tags+xml"/>
  <Override PartName="/ppt/notesSlides/notesSlide5.xml" ContentType="application/vnd.openxmlformats-officedocument.presentationml.notesSlide+xml"/>
  <Override PartName="/ppt/tags/tag3.xml" ContentType="application/vnd.openxmlformats-officedocument.presentationml.tags+xml"/>
  <Override PartName="/ppt/notesSlides/notesSlide6.xml" ContentType="application/vnd.openxmlformats-officedocument.presentationml.notesSlide+xml"/>
  <Override PartName="/ppt/tags/tag4.xml" ContentType="application/vnd.openxmlformats-officedocument.presentationml.tags+xml"/>
  <Override PartName="/ppt/notesSlides/notesSlide7.xml" ContentType="application/vnd.openxmlformats-officedocument.presentationml.notesSlide+xml"/>
  <Override PartName="/ppt/tags/tag5.xml" ContentType="application/vnd.openxmlformats-officedocument.presentationml.tags+xml"/>
  <Override PartName="/ppt/notesSlides/notesSlide8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5"/>
  </p:sldMasterIdLst>
  <p:notesMasterIdLst>
    <p:notesMasterId r:id="rId24"/>
  </p:notesMasterIdLst>
  <p:handoutMasterIdLst>
    <p:handoutMasterId r:id="rId25"/>
  </p:handoutMasterIdLst>
  <p:sldIdLst>
    <p:sldId id="256" r:id="rId6"/>
    <p:sldId id="5527" r:id="rId7"/>
    <p:sldId id="1939" r:id="rId8"/>
    <p:sldId id="5538" r:id="rId9"/>
    <p:sldId id="5544" r:id="rId10"/>
    <p:sldId id="5530" r:id="rId11"/>
    <p:sldId id="1391" r:id="rId12"/>
    <p:sldId id="1410" r:id="rId13"/>
    <p:sldId id="5545" r:id="rId14"/>
    <p:sldId id="1442" r:id="rId15"/>
    <p:sldId id="1418" r:id="rId16"/>
    <p:sldId id="5528" r:id="rId17"/>
    <p:sldId id="258" r:id="rId18"/>
    <p:sldId id="1445" r:id="rId19"/>
    <p:sldId id="925" r:id="rId20"/>
    <p:sldId id="5542" r:id="rId21"/>
    <p:sldId id="5543" r:id="rId22"/>
    <p:sldId id="928" r:id="rId23"/>
  </p:sldIdLst>
  <p:sldSz cx="12192000" cy="6858000"/>
  <p:notesSz cx="6797675" cy="9926638"/>
  <p:custDataLst>
    <p:tags r:id="rId26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Title" id="{F4755084-B889-4915-A5A6-921C728A7AE2}">
          <p14:sldIdLst>
            <p14:sldId id="256"/>
            <p14:sldId id="5527"/>
          </p14:sldIdLst>
        </p14:section>
        <p14:section name="Main Introduction" id="{A5AEA8D7-4C84-4607-81B0-2981ABC4704A}">
          <p14:sldIdLst>
            <p14:sldId id="1939"/>
            <p14:sldId id="5538"/>
            <p14:sldId id="5544"/>
            <p14:sldId id="5530"/>
            <p14:sldId id="1391"/>
            <p14:sldId id="1410"/>
            <p14:sldId id="5545"/>
            <p14:sldId id="1442"/>
            <p14:sldId id="1418"/>
            <p14:sldId id="5528"/>
          </p14:sldIdLst>
        </p14:section>
        <p14:section name="EnergyAI Setup" id="{E470F7F6-6DFB-4BEE-85B1-D291641B92CA}">
          <p14:sldIdLst>
            <p14:sldId id="258"/>
            <p14:sldId id="1445"/>
            <p14:sldId id="925"/>
            <p14:sldId id="5542"/>
            <p14:sldId id="5543"/>
            <p14:sldId id="928"/>
          </p14:sldIdLst>
        </p14:section>
        <p14:section name="Notebook Examples" id="{316BA2BF-8DEC-4DB5-A56D-A82D75F916B6}">
          <p14:sldIdLst/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196F3"/>
    <a:srgbClr val="C7DB9B"/>
    <a:srgbClr val="99FF6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C0895EF0-9FBA-4D4A-90E2-4D5EA0040965}" v="2" dt="2022-03-11T14:34:25.694"/>
  </p1510:revLst>
</p1510:revInfo>
</file>

<file path=ppt/tableStyles.xml><?xml version="1.0" encoding="utf-8"?>
<a:tblStyleLst xmlns:a="http://schemas.openxmlformats.org/drawingml/2006/main" def="{9D7B26C5-4107-4FEC-AEDC-1716B250A1EF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ittlere Formatvorlage 2 - Akz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9D7B26C5-4107-4FEC-AEDC-1716B250A1EF}" styleName="Helle Formatvorlag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2255" autoAdjust="0"/>
    <p:restoredTop sz="94660"/>
  </p:normalViewPr>
  <p:slideViewPr>
    <p:cSldViewPr snapToGrid="0">
      <p:cViewPr varScale="1">
        <p:scale>
          <a:sx n="108" d="100"/>
          <a:sy n="108" d="100"/>
        </p:scale>
        <p:origin x="870" y="10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-390"/>
    </p:cViewPr>
  </p:sorter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tags" Target="tags/tag1.xml"/><Relationship Id="rId3" Type="http://schemas.openxmlformats.org/officeDocument/2006/relationships/customXml" Target="../customXml/item3.xml"/><Relationship Id="rId21" Type="http://schemas.openxmlformats.org/officeDocument/2006/relationships/slide" Target="slides/slide16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handoutMaster" Target="handoutMasters/handout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notesMaster" Target="notesMasters/notesMaster1.xml"/><Relationship Id="rId32" Type="http://schemas.microsoft.com/office/2015/10/relationships/revisionInfo" Target="revisionInfo.xml"/><Relationship Id="rId5" Type="http://schemas.openxmlformats.org/officeDocument/2006/relationships/slideMaster" Target="slideMasters/slideMaster1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viewProps" Target="viewProps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microsoft.com/office/2016/11/relationships/changesInfo" Target="changesInfos/changesInfo1.xml"/><Relationship Id="rId4" Type="http://schemas.openxmlformats.org/officeDocument/2006/relationships/customXml" Target="../customXml/item4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Groh, Matthias (SE GP G QPI P)" userId="99494288-5ce4-4766-a240-287ba2f562d7" providerId="ADAL" clId="{C0895EF0-9FBA-4D4A-90E2-4D5EA0040965}"/>
    <pc:docChg chg="undo custSel delSld modSld sldOrd modSection">
      <pc:chgData name="Groh, Matthias (SE GP G QPI P)" userId="99494288-5ce4-4766-a240-287ba2f562d7" providerId="ADAL" clId="{C0895EF0-9FBA-4D4A-90E2-4D5EA0040965}" dt="2022-03-11T14:49:06.712" v="415" actId="207"/>
      <pc:docMkLst>
        <pc:docMk/>
      </pc:docMkLst>
      <pc:sldChg chg="modSp mod">
        <pc:chgData name="Groh, Matthias (SE GP G QPI P)" userId="99494288-5ce4-4766-a240-287ba2f562d7" providerId="ADAL" clId="{C0895EF0-9FBA-4D4A-90E2-4D5EA0040965}" dt="2022-03-11T14:32:25.991" v="0" actId="20577"/>
        <pc:sldMkLst>
          <pc:docMk/>
          <pc:sldMk cId="2700276212" sldId="256"/>
        </pc:sldMkLst>
        <pc:spChg chg="mod">
          <ac:chgData name="Groh, Matthias (SE GP G QPI P)" userId="99494288-5ce4-4766-a240-287ba2f562d7" providerId="ADAL" clId="{C0895EF0-9FBA-4D4A-90E2-4D5EA0040965}" dt="2022-03-11T14:32:25.991" v="0" actId="20577"/>
          <ac:spMkLst>
            <pc:docMk/>
            <pc:sldMk cId="2700276212" sldId="256"/>
            <ac:spMk id="5" creationId="{75C10A5A-A3FB-41E8-BF5A-C06EBABD4EB4}"/>
          </ac:spMkLst>
        </pc:spChg>
      </pc:sldChg>
      <pc:sldChg chg="modSp mod">
        <pc:chgData name="Groh, Matthias (SE GP G QPI P)" userId="99494288-5ce4-4766-a240-287ba2f562d7" providerId="ADAL" clId="{C0895EF0-9FBA-4D4A-90E2-4D5EA0040965}" dt="2022-03-11T14:45:53.268" v="367" actId="5793"/>
        <pc:sldMkLst>
          <pc:docMk/>
          <pc:sldMk cId="2996810356" sldId="258"/>
        </pc:sldMkLst>
        <pc:spChg chg="mod">
          <ac:chgData name="Groh, Matthias (SE GP G QPI P)" userId="99494288-5ce4-4766-a240-287ba2f562d7" providerId="ADAL" clId="{C0895EF0-9FBA-4D4A-90E2-4D5EA0040965}" dt="2022-03-11T14:45:53.268" v="367" actId="5793"/>
          <ac:spMkLst>
            <pc:docMk/>
            <pc:sldMk cId="2996810356" sldId="258"/>
            <ac:spMk id="2" creationId="{79A16D7E-7C00-42EF-B608-3DC55787BD74}"/>
          </ac:spMkLst>
        </pc:spChg>
      </pc:sldChg>
      <pc:sldChg chg="modSp mod ord">
        <pc:chgData name="Groh, Matthias (SE GP G QPI P)" userId="99494288-5ce4-4766-a240-287ba2f562d7" providerId="ADAL" clId="{C0895EF0-9FBA-4D4A-90E2-4D5EA0040965}" dt="2022-03-11T14:47:37.557" v="414" actId="113"/>
        <pc:sldMkLst>
          <pc:docMk/>
          <pc:sldMk cId="3539552514" sldId="925"/>
        </pc:sldMkLst>
        <pc:spChg chg="mod">
          <ac:chgData name="Groh, Matthias (SE GP G QPI P)" userId="99494288-5ce4-4766-a240-287ba2f562d7" providerId="ADAL" clId="{C0895EF0-9FBA-4D4A-90E2-4D5EA0040965}" dt="2022-03-11T14:42:41.705" v="245"/>
          <ac:spMkLst>
            <pc:docMk/>
            <pc:sldMk cId="3539552514" sldId="925"/>
            <ac:spMk id="8" creationId="{00000000-0000-0000-0000-000000000000}"/>
          </ac:spMkLst>
        </pc:spChg>
        <pc:spChg chg="mod">
          <ac:chgData name="Groh, Matthias (SE GP G QPI P)" userId="99494288-5ce4-4766-a240-287ba2f562d7" providerId="ADAL" clId="{C0895EF0-9FBA-4D4A-90E2-4D5EA0040965}" dt="2022-03-11T14:47:37.557" v="414" actId="113"/>
          <ac:spMkLst>
            <pc:docMk/>
            <pc:sldMk cId="3539552514" sldId="925"/>
            <ac:spMk id="114690" creationId="{00000000-0000-0000-0000-000000000000}"/>
          </ac:spMkLst>
        </pc:spChg>
      </pc:sldChg>
      <pc:sldChg chg="del">
        <pc:chgData name="Groh, Matthias (SE GP G QPI P)" userId="99494288-5ce4-4766-a240-287ba2f562d7" providerId="ADAL" clId="{C0895EF0-9FBA-4D4A-90E2-4D5EA0040965}" dt="2022-03-11T14:39:40.719" v="133" actId="47"/>
        <pc:sldMkLst>
          <pc:docMk/>
          <pc:sldMk cId="1133391917" sldId="937"/>
        </pc:sldMkLst>
      </pc:sldChg>
      <pc:sldChg chg="delSp mod">
        <pc:chgData name="Groh, Matthias (SE GP G QPI P)" userId="99494288-5ce4-4766-a240-287ba2f562d7" providerId="ADAL" clId="{C0895EF0-9FBA-4D4A-90E2-4D5EA0040965}" dt="2022-03-11T14:39:48.043" v="135" actId="478"/>
        <pc:sldMkLst>
          <pc:docMk/>
          <pc:sldMk cId="262552978" sldId="1418"/>
        </pc:sldMkLst>
        <pc:spChg chg="del">
          <ac:chgData name="Groh, Matthias (SE GP G QPI P)" userId="99494288-5ce4-4766-a240-287ba2f562d7" providerId="ADAL" clId="{C0895EF0-9FBA-4D4A-90E2-4D5EA0040965}" dt="2022-03-11T14:39:48.043" v="135" actId="478"/>
          <ac:spMkLst>
            <pc:docMk/>
            <pc:sldMk cId="262552978" sldId="1418"/>
            <ac:spMk id="6" creationId="{280BDF95-9CA6-4898-A4DC-9379E774D0EB}"/>
          </ac:spMkLst>
        </pc:spChg>
      </pc:sldChg>
      <pc:sldChg chg="delSp mod">
        <pc:chgData name="Groh, Matthias (SE GP G QPI P)" userId="99494288-5ce4-4766-a240-287ba2f562d7" providerId="ADAL" clId="{C0895EF0-9FBA-4D4A-90E2-4D5EA0040965}" dt="2022-03-11T14:39:43.325" v="134" actId="478"/>
        <pc:sldMkLst>
          <pc:docMk/>
          <pc:sldMk cId="823125269" sldId="1442"/>
        </pc:sldMkLst>
        <pc:spChg chg="del">
          <ac:chgData name="Groh, Matthias (SE GP G QPI P)" userId="99494288-5ce4-4766-a240-287ba2f562d7" providerId="ADAL" clId="{C0895EF0-9FBA-4D4A-90E2-4D5EA0040965}" dt="2022-03-11T14:39:43.325" v="134" actId="478"/>
          <ac:spMkLst>
            <pc:docMk/>
            <pc:sldMk cId="823125269" sldId="1442"/>
            <ac:spMk id="5" creationId="{029AD0CA-1532-4230-9270-F36A20C8BBA0}"/>
          </ac:spMkLst>
        </pc:spChg>
      </pc:sldChg>
      <pc:sldChg chg="delSp modSp mod ord">
        <pc:chgData name="Groh, Matthias (SE GP G QPI P)" userId="99494288-5ce4-4766-a240-287ba2f562d7" providerId="ADAL" clId="{C0895EF0-9FBA-4D4A-90E2-4D5EA0040965}" dt="2022-03-11T14:46:15.513" v="370" actId="14100"/>
        <pc:sldMkLst>
          <pc:docMk/>
          <pc:sldMk cId="384603354" sldId="1445"/>
        </pc:sldMkLst>
        <pc:spChg chg="mod">
          <ac:chgData name="Groh, Matthias (SE GP G QPI P)" userId="99494288-5ce4-4766-a240-287ba2f562d7" providerId="ADAL" clId="{C0895EF0-9FBA-4D4A-90E2-4D5EA0040965}" dt="2022-03-11T14:46:15.513" v="370" actId="14100"/>
          <ac:spMkLst>
            <pc:docMk/>
            <pc:sldMk cId="384603354" sldId="1445"/>
            <ac:spMk id="5" creationId="{2EB552F1-624C-47F8-9EA8-EEAB77898502}"/>
          </ac:spMkLst>
        </pc:spChg>
        <pc:spChg chg="del mod">
          <ac:chgData name="Groh, Matthias (SE GP G QPI P)" userId="99494288-5ce4-4766-a240-287ba2f562d7" providerId="ADAL" clId="{C0895EF0-9FBA-4D4A-90E2-4D5EA0040965}" dt="2022-03-11T14:41:55.198" v="162" actId="478"/>
          <ac:spMkLst>
            <pc:docMk/>
            <pc:sldMk cId="384603354" sldId="1445"/>
            <ac:spMk id="11" creationId="{D15219C3-BDF3-467C-B093-B0E17679012F}"/>
          </ac:spMkLst>
        </pc:spChg>
      </pc:sldChg>
      <pc:sldChg chg="del">
        <pc:chgData name="Groh, Matthias (SE GP G QPI P)" userId="99494288-5ce4-4766-a240-287ba2f562d7" providerId="ADAL" clId="{C0895EF0-9FBA-4D4A-90E2-4D5EA0040965}" dt="2022-03-11T14:45:34.032" v="311" actId="47"/>
        <pc:sldMkLst>
          <pc:docMk/>
          <pc:sldMk cId="443035434" sldId="1448"/>
        </pc:sldMkLst>
      </pc:sldChg>
      <pc:sldChg chg="del">
        <pc:chgData name="Groh, Matthias (SE GP G QPI P)" userId="99494288-5ce4-4766-a240-287ba2f562d7" providerId="ADAL" clId="{C0895EF0-9FBA-4D4A-90E2-4D5EA0040965}" dt="2022-03-11T14:32:43.808" v="1" actId="47"/>
        <pc:sldMkLst>
          <pc:docMk/>
          <pc:sldMk cId="1147567193" sldId="1453"/>
        </pc:sldMkLst>
      </pc:sldChg>
      <pc:sldChg chg="del">
        <pc:chgData name="Groh, Matthias (SE GP G QPI P)" userId="99494288-5ce4-4766-a240-287ba2f562d7" providerId="ADAL" clId="{C0895EF0-9FBA-4D4A-90E2-4D5EA0040965}" dt="2022-03-11T14:45:24.229" v="310" actId="47"/>
        <pc:sldMkLst>
          <pc:docMk/>
          <pc:sldMk cId="3537555620" sldId="1464"/>
        </pc:sldMkLst>
      </pc:sldChg>
      <pc:sldChg chg="del">
        <pc:chgData name="Groh, Matthias (SE GP G QPI P)" userId="99494288-5ce4-4766-a240-287ba2f562d7" providerId="ADAL" clId="{C0895EF0-9FBA-4D4A-90E2-4D5EA0040965}" dt="2022-03-11T14:45:34.032" v="311" actId="47"/>
        <pc:sldMkLst>
          <pc:docMk/>
          <pc:sldMk cId="1572829594" sldId="1467"/>
        </pc:sldMkLst>
      </pc:sldChg>
      <pc:sldChg chg="del">
        <pc:chgData name="Groh, Matthias (SE GP G QPI P)" userId="99494288-5ce4-4766-a240-287ba2f562d7" providerId="ADAL" clId="{C0895EF0-9FBA-4D4A-90E2-4D5EA0040965}" dt="2022-03-11T14:36:15.732" v="126" actId="47"/>
        <pc:sldMkLst>
          <pc:docMk/>
          <pc:sldMk cId="164182001" sldId="1468"/>
        </pc:sldMkLst>
      </pc:sldChg>
      <pc:sldChg chg="del">
        <pc:chgData name="Groh, Matthias (SE GP G QPI P)" userId="99494288-5ce4-4766-a240-287ba2f562d7" providerId="ADAL" clId="{C0895EF0-9FBA-4D4A-90E2-4D5EA0040965}" dt="2022-03-11T14:32:49.228" v="2" actId="47"/>
        <pc:sldMkLst>
          <pc:docMk/>
          <pc:sldMk cId="3097396221" sldId="1469"/>
        </pc:sldMkLst>
      </pc:sldChg>
      <pc:sldChg chg="modSp mod">
        <pc:chgData name="Groh, Matthias (SE GP G QPI P)" userId="99494288-5ce4-4766-a240-287ba2f562d7" providerId="ADAL" clId="{C0895EF0-9FBA-4D4A-90E2-4D5EA0040965}" dt="2022-03-11T14:36:56.375" v="127" actId="207"/>
        <pc:sldMkLst>
          <pc:docMk/>
          <pc:sldMk cId="642603943" sldId="1939"/>
        </pc:sldMkLst>
        <pc:spChg chg="mod">
          <ac:chgData name="Groh, Matthias (SE GP G QPI P)" userId="99494288-5ce4-4766-a240-287ba2f562d7" providerId="ADAL" clId="{C0895EF0-9FBA-4D4A-90E2-4D5EA0040965}" dt="2022-03-11T14:36:56.375" v="127" actId="207"/>
          <ac:spMkLst>
            <pc:docMk/>
            <pc:sldMk cId="642603943" sldId="1939"/>
            <ac:spMk id="3" creationId="{24CE9D69-D6B0-4824-A6E4-E95FE89F0A0C}"/>
          </ac:spMkLst>
        </pc:spChg>
      </pc:sldChg>
      <pc:sldChg chg="addSp delSp modSp mod">
        <pc:chgData name="Groh, Matthias (SE GP G QPI P)" userId="99494288-5ce4-4766-a240-287ba2f562d7" providerId="ADAL" clId="{C0895EF0-9FBA-4D4A-90E2-4D5EA0040965}" dt="2022-03-11T14:36:09.449" v="125" actId="20577"/>
        <pc:sldMkLst>
          <pc:docMk/>
          <pc:sldMk cId="776129892" sldId="5527"/>
        </pc:sldMkLst>
        <pc:spChg chg="mod">
          <ac:chgData name="Groh, Matthias (SE GP G QPI P)" userId="99494288-5ce4-4766-a240-287ba2f562d7" providerId="ADAL" clId="{C0895EF0-9FBA-4D4A-90E2-4D5EA0040965}" dt="2022-03-11T14:33:36.872" v="62" actId="6549"/>
          <ac:spMkLst>
            <pc:docMk/>
            <pc:sldMk cId="776129892" sldId="5527"/>
            <ac:spMk id="2" creationId="{FE536143-FFB5-4C5C-8AA9-BB34BFBE6474}"/>
          </ac:spMkLst>
        </pc:spChg>
        <pc:spChg chg="mod topLvl">
          <ac:chgData name="Groh, Matthias (SE GP G QPI P)" userId="99494288-5ce4-4766-a240-287ba2f562d7" providerId="ADAL" clId="{C0895EF0-9FBA-4D4A-90E2-4D5EA0040965}" dt="2022-03-11T14:36:09.449" v="125" actId="20577"/>
          <ac:spMkLst>
            <pc:docMk/>
            <pc:sldMk cId="776129892" sldId="5527"/>
            <ac:spMk id="11" creationId="{DB7C11EB-BAAC-4140-8C89-FC891AA3E844}"/>
          </ac:spMkLst>
        </pc:spChg>
        <pc:spChg chg="mod topLvl">
          <ac:chgData name="Groh, Matthias (SE GP G QPI P)" userId="99494288-5ce4-4766-a240-287ba2f562d7" providerId="ADAL" clId="{C0895EF0-9FBA-4D4A-90E2-4D5EA0040965}" dt="2022-03-11T14:34:25.693" v="70" actId="164"/>
          <ac:spMkLst>
            <pc:docMk/>
            <pc:sldMk cId="776129892" sldId="5527"/>
            <ac:spMk id="15" creationId="{96852413-5167-4D6A-90DB-678BF1242108}"/>
          </ac:spMkLst>
        </pc:spChg>
        <pc:spChg chg="mod">
          <ac:chgData name="Groh, Matthias (SE GP G QPI P)" userId="99494288-5ce4-4766-a240-287ba2f562d7" providerId="ADAL" clId="{C0895EF0-9FBA-4D4A-90E2-4D5EA0040965}" dt="2022-03-11T14:35:28.963" v="102" actId="1035"/>
          <ac:spMkLst>
            <pc:docMk/>
            <pc:sldMk cId="776129892" sldId="5527"/>
            <ac:spMk id="26" creationId="{6A648F65-CDC6-42F4-BB61-7F60F7A2FFD6}"/>
          </ac:spMkLst>
        </pc:spChg>
        <pc:spChg chg="mod">
          <ac:chgData name="Groh, Matthias (SE GP G QPI P)" userId="99494288-5ce4-4766-a240-287ba2f562d7" providerId="ADAL" clId="{C0895EF0-9FBA-4D4A-90E2-4D5EA0040965}" dt="2022-03-11T14:35:33.451" v="105" actId="1036"/>
          <ac:spMkLst>
            <pc:docMk/>
            <pc:sldMk cId="776129892" sldId="5527"/>
            <ac:spMk id="33" creationId="{C1B6AE3B-6257-4C68-8FD9-C686BD7FC8BE}"/>
          </ac:spMkLst>
        </pc:spChg>
        <pc:spChg chg="del mod">
          <ac:chgData name="Groh, Matthias (SE GP G QPI P)" userId="99494288-5ce4-4766-a240-287ba2f562d7" providerId="ADAL" clId="{C0895EF0-9FBA-4D4A-90E2-4D5EA0040965}" dt="2022-03-11T14:33:57.185" v="65" actId="478"/>
          <ac:spMkLst>
            <pc:docMk/>
            <pc:sldMk cId="776129892" sldId="5527"/>
            <ac:spMk id="36" creationId="{C59E9C68-3475-444B-A1B3-19994D674D65}"/>
          </ac:spMkLst>
        </pc:spChg>
        <pc:spChg chg="del">
          <ac:chgData name="Groh, Matthias (SE GP G QPI P)" userId="99494288-5ce4-4766-a240-287ba2f562d7" providerId="ADAL" clId="{C0895EF0-9FBA-4D4A-90E2-4D5EA0040965}" dt="2022-03-11T14:33:53.774" v="63" actId="478"/>
          <ac:spMkLst>
            <pc:docMk/>
            <pc:sldMk cId="776129892" sldId="5527"/>
            <ac:spMk id="56" creationId="{64080D14-767E-4E91-8D33-560A7142A4BD}"/>
          </ac:spMkLst>
        </pc:spChg>
        <pc:spChg chg="mod">
          <ac:chgData name="Groh, Matthias (SE GP G QPI P)" userId="99494288-5ce4-4766-a240-287ba2f562d7" providerId="ADAL" clId="{C0895EF0-9FBA-4D4A-90E2-4D5EA0040965}" dt="2022-03-11T14:34:12.471" v="68" actId="165"/>
          <ac:spMkLst>
            <pc:docMk/>
            <pc:sldMk cId="776129892" sldId="5527"/>
            <ac:spMk id="57" creationId="{E328D9E2-5C7C-45D0-8472-4487B02EBD21}"/>
          </ac:spMkLst>
        </pc:spChg>
        <pc:spChg chg="mod">
          <ac:chgData name="Groh, Matthias (SE GP G QPI P)" userId="99494288-5ce4-4766-a240-287ba2f562d7" providerId="ADAL" clId="{C0895EF0-9FBA-4D4A-90E2-4D5EA0040965}" dt="2022-03-11T14:34:12.471" v="68" actId="165"/>
          <ac:spMkLst>
            <pc:docMk/>
            <pc:sldMk cId="776129892" sldId="5527"/>
            <ac:spMk id="58" creationId="{0799D796-0251-43D7-B0D9-1363DCA1941D}"/>
          </ac:spMkLst>
        </pc:spChg>
        <pc:grpChg chg="add mod">
          <ac:chgData name="Groh, Matthias (SE GP G QPI P)" userId="99494288-5ce4-4766-a240-287ba2f562d7" providerId="ADAL" clId="{C0895EF0-9FBA-4D4A-90E2-4D5EA0040965}" dt="2022-03-11T14:35:01.132" v="79" actId="14100"/>
          <ac:grpSpMkLst>
            <pc:docMk/>
            <pc:sldMk cId="776129892" sldId="5527"/>
            <ac:grpSpMk id="4" creationId="{30EEF414-5134-4423-8D59-A2E5689299DA}"/>
          </ac:grpSpMkLst>
        </pc:grpChg>
        <pc:grpChg chg="mod topLvl">
          <ac:chgData name="Groh, Matthias (SE GP G QPI P)" userId="99494288-5ce4-4766-a240-287ba2f562d7" providerId="ADAL" clId="{C0895EF0-9FBA-4D4A-90E2-4D5EA0040965}" dt="2022-03-11T14:34:25.693" v="70" actId="164"/>
          <ac:grpSpMkLst>
            <pc:docMk/>
            <pc:sldMk cId="776129892" sldId="5527"/>
            <ac:grpSpMk id="49" creationId="{F7538848-CF07-4ACB-82F7-EB92A94A6681}"/>
          </ac:grpSpMkLst>
        </pc:grpChg>
        <pc:grpChg chg="mod topLvl">
          <ac:chgData name="Groh, Matthias (SE GP G QPI P)" userId="99494288-5ce4-4766-a240-287ba2f562d7" providerId="ADAL" clId="{C0895EF0-9FBA-4D4A-90E2-4D5EA0040965}" dt="2022-03-11T14:34:25.693" v="70" actId="164"/>
          <ac:grpSpMkLst>
            <pc:docMk/>
            <pc:sldMk cId="776129892" sldId="5527"/>
            <ac:grpSpMk id="50" creationId="{E8F2FC75-61D0-4B80-8BFF-D7D98B20C3FC}"/>
          </ac:grpSpMkLst>
        </pc:grpChg>
        <pc:grpChg chg="del mod">
          <ac:chgData name="Groh, Matthias (SE GP G QPI P)" userId="99494288-5ce4-4766-a240-287ba2f562d7" providerId="ADAL" clId="{C0895EF0-9FBA-4D4A-90E2-4D5EA0040965}" dt="2022-03-11T14:34:12.471" v="68" actId="165"/>
          <ac:grpSpMkLst>
            <pc:docMk/>
            <pc:sldMk cId="776129892" sldId="5527"/>
            <ac:grpSpMk id="66" creationId="{5B9FD80D-D2F5-4E4B-AEAB-7B4691664612}"/>
          </ac:grpSpMkLst>
        </pc:grpChg>
        <pc:picChg chg="mod">
          <ac:chgData name="Groh, Matthias (SE GP G QPI P)" userId="99494288-5ce4-4766-a240-287ba2f562d7" providerId="ADAL" clId="{C0895EF0-9FBA-4D4A-90E2-4D5EA0040965}" dt="2022-03-11T14:34:25.693" v="70" actId="164"/>
          <ac:picMkLst>
            <pc:docMk/>
            <pc:sldMk cId="776129892" sldId="5527"/>
            <ac:picMk id="23" creationId="{80F2B14B-B10D-484F-982A-47E1B04934EF}"/>
          </ac:picMkLst>
        </pc:picChg>
        <pc:picChg chg="mod">
          <ac:chgData name="Groh, Matthias (SE GP G QPI P)" userId="99494288-5ce4-4766-a240-287ba2f562d7" providerId="ADAL" clId="{C0895EF0-9FBA-4D4A-90E2-4D5EA0040965}" dt="2022-03-11T14:34:12.471" v="68" actId="165"/>
          <ac:picMkLst>
            <pc:docMk/>
            <pc:sldMk cId="776129892" sldId="5527"/>
            <ac:picMk id="28" creationId="{9766FA50-ED48-4EB9-A8E7-0F7F9770B758}"/>
          </ac:picMkLst>
        </pc:picChg>
      </pc:sldChg>
      <pc:sldChg chg="delSp mod">
        <pc:chgData name="Groh, Matthias (SE GP G QPI P)" userId="99494288-5ce4-4766-a240-287ba2f562d7" providerId="ADAL" clId="{C0895EF0-9FBA-4D4A-90E2-4D5EA0040965}" dt="2022-03-11T14:39:53.593" v="136" actId="478"/>
        <pc:sldMkLst>
          <pc:docMk/>
          <pc:sldMk cId="1007033581" sldId="5528"/>
        </pc:sldMkLst>
        <pc:spChg chg="del">
          <ac:chgData name="Groh, Matthias (SE GP G QPI P)" userId="99494288-5ce4-4766-a240-287ba2f562d7" providerId="ADAL" clId="{C0895EF0-9FBA-4D4A-90E2-4D5EA0040965}" dt="2022-03-11T14:39:53.593" v="136" actId="478"/>
          <ac:spMkLst>
            <pc:docMk/>
            <pc:sldMk cId="1007033581" sldId="5528"/>
            <ac:spMk id="11" creationId="{CA92AA07-2934-47EC-A6E5-E7A4BCB26243}"/>
          </ac:spMkLst>
        </pc:spChg>
      </pc:sldChg>
      <pc:sldChg chg="modSp mod">
        <pc:chgData name="Groh, Matthias (SE GP G QPI P)" userId="99494288-5ce4-4766-a240-287ba2f562d7" providerId="ADAL" clId="{C0895EF0-9FBA-4D4A-90E2-4D5EA0040965}" dt="2022-03-11T14:49:06.712" v="415" actId="207"/>
        <pc:sldMkLst>
          <pc:docMk/>
          <pc:sldMk cId="1007398519" sldId="5530"/>
        </pc:sldMkLst>
        <pc:graphicFrameChg chg="modGraphic">
          <ac:chgData name="Groh, Matthias (SE GP G QPI P)" userId="99494288-5ce4-4766-a240-287ba2f562d7" providerId="ADAL" clId="{C0895EF0-9FBA-4D4A-90E2-4D5EA0040965}" dt="2022-03-11T14:49:06.712" v="415" actId="207"/>
          <ac:graphicFrameMkLst>
            <pc:docMk/>
            <pc:sldMk cId="1007398519" sldId="5530"/>
            <ac:graphicFrameMk id="4" creationId="{2073493E-1A5A-4F63-B63F-87AE2BF4D868}"/>
          </ac:graphicFrameMkLst>
        </pc:graphicFrameChg>
      </pc:sldChg>
      <pc:sldChg chg="del">
        <pc:chgData name="Groh, Matthias (SE GP G QPI P)" userId="99494288-5ce4-4766-a240-287ba2f562d7" providerId="ADAL" clId="{C0895EF0-9FBA-4D4A-90E2-4D5EA0040965}" dt="2022-03-11T14:45:34.032" v="311" actId="47"/>
        <pc:sldMkLst>
          <pc:docMk/>
          <pc:sldMk cId="550092745" sldId="5535"/>
        </pc:sldMkLst>
      </pc:sldChg>
      <pc:sldChg chg="del">
        <pc:chgData name="Groh, Matthias (SE GP G QPI P)" userId="99494288-5ce4-4766-a240-287ba2f562d7" providerId="ADAL" clId="{C0895EF0-9FBA-4D4A-90E2-4D5EA0040965}" dt="2022-03-11T14:37:25.597" v="130" actId="47"/>
        <pc:sldMkLst>
          <pc:docMk/>
          <pc:sldMk cId="2379295645" sldId="5540"/>
        </pc:sldMkLst>
      </pc:sldChg>
      <pc:sldChg chg="del">
        <pc:chgData name="Groh, Matthias (SE GP G QPI P)" userId="99494288-5ce4-4766-a240-287ba2f562d7" providerId="ADAL" clId="{C0895EF0-9FBA-4D4A-90E2-4D5EA0040965}" dt="2022-03-11T14:45:24.229" v="310" actId="47"/>
        <pc:sldMkLst>
          <pc:docMk/>
          <pc:sldMk cId="3346912085" sldId="5541"/>
        </pc:sldMkLst>
      </pc:sldChg>
      <pc:sldChg chg="del">
        <pc:chgData name="Groh, Matthias (SE GP G QPI P)" userId="99494288-5ce4-4766-a240-287ba2f562d7" providerId="ADAL" clId="{C0895EF0-9FBA-4D4A-90E2-4D5EA0040965}" dt="2022-03-11T14:45:24.229" v="310" actId="47"/>
        <pc:sldMkLst>
          <pc:docMk/>
          <pc:sldMk cId="245292940" sldId="5544"/>
        </pc:sldMkLst>
      </pc:sldChg>
      <pc:sldChg chg="del">
        <pc:chgData name="Groh, Matthias (SE GP G QPI P)" userId="99494288-5ce4-4766-a240-287ba2f562d7" providerId="ADAL" clId="{C0895EF0-9FBA-4D4A-90E2-4D5EA0040965}" dt="2022-03-11T14:45:34.032" v="311" actId="47"/>
        <pc:sldMkLst>
          <pc:docMk/>
          <pc:sldMk cId="2044837372" sldId="5545"/>
        </pc:sldMkLst>
      </pc:sldChg>
    </pc:docChg>
  </pc:docChgLst>
  <pc:docChgLst>
    <pc:chgData name="Timothy Mazzotta" userId="32cdfb0a-f1e9-4dcc-9361-9c9032f79aa6" providerId="ADAL" clId="{6AF61DC8-5E05-4FE1-A07C-02FA3C0DCBF9}"/>
    <pc:docChg chg="undo custSel addSld delSld modSld sldOrd modMainMaster delSection modSection">
      <pc:chgData name="Timothy Mazzotta" userId="32cdfb0a-f1e9-4dcc-9361-9c9032f79aa6" providerId="ADAL" clId="{6AF61DC8-5E05-4FE1-A07C-02FA3C0DCBF9}" dt="2021-10-18T20:16:23.111" v="1030" actId="6549"/>
      <pc:docMkLst>
        <pc:docMk/>
      </pc:docMkLst>
      <pc:sldChg chg="modSp mod">
        <pc:chgData name="Timothy Mazzotta" userId="32cdfb0a-f1e9-4dcc-9361-9c9032f79aa6" providerId="ADAL" clId="{6AF61DC8-5E05-4FE1-A07C-02FA3C0DCBF9}" dt="2021-10-18T17:40:30.247" v="216" actId="20577"/>
        <pc:sldMkLst>
          <pc:docMk/>
          <pc:sldMk cId="2700276212" sldId="256"/>
        </pc:sldMkLst>
        <pc:spChg chg="mod">
          <ac:chgData name="Timothy Mazzotta" userId="32cdfb0a-f1e9-4dcc-9361-9c9032f79aa6" providerId="ADAL" clId="{6AF61DC8-5E05-4FE1-A07C-02FA3C0DCBF9}" dt="2021-10-18T17:40:30.247" v="216" actId="20577"/>
          <ac:spMkLst>
            <pc:docMk/>
            <pc:sldMk cId="2700276212" sldId="256"/>
            <ac:spMk id="5" creationId="{75C10A5A-A3FB-41E8-BF5A-C06EBABD4EB4}"/>
          </ac:spMkLst>
        </pc:spChg>
      </pc:sldChg>
      <pc:sldChg chg="modSp mod modClrScheme modShow chgLayout">
        <pc:chgData name="Timothy Mazzotta" userId="32cdfb0a-f1e9-4dcc-9361-9c9032f79aa6" providerId="ADAL" clId="{6AF61DC8-5E05-4FE1-A07C-02FA3C0DCBF9}" dt="2021-10-18T12:25:20.883" v="86" actId="1076"/>
        <pc:sldMkLst>
          <pc:docMk/>
          <pc:sldMk cId="3539552514" sldId="925"/>
        </pc:sldMkLst>
        <pc:spChg chg="mod ord">
          <ac:chgData name="Timothy Mazzotta" userId="32cdfb0a-f1e9-4dcc-9361-9c9032f79aa6" providerId="ADAL" clId="{6AF61DC8-5E05-4FE1-A07C-02FA3C0DCBF9}" dt="2021-10-18T12:25:20.883" v="86" actId="1076"/>
          <ac:spMkLst>
            <pc:docMk/>
            <pc:sldMk cId="3539552514" sldId="925"/>
            <ac:spMk id="8" creationId="{00000000-0000-0000-0000-000000000000}"/>
          </ac:spMkLst>
        </pc:spChg>
        <pc:spChg chg="mod ord">
          <ac:chgData name="Timothy Mazzotta" userId="32cdfb0a-f1e9-4dcc-9361-9c9032f79aa6" providerId="ADAL" clId="{6AF61DC8-5E05-4FE1-A07C-02FA3C0DCBF9}" dt="2021-10-18T12:24:39.851" v="82" actId="700"/>
          <ac:spMkLst>
            <pc:docMk/>
            <pc:sldMk cId="3539552514" sldId="925"/>
            <ac:spMk id="114690" creationId="{00000000-0000-0000-0000-000000000000}"/>
          </ac:spMkLst>
        </pc:spChg>
      </pc:sldChg>
      <pc:sldChg chg="del">
        <pc:chgData name="Timothy Mazzotta" userId="32cdfb0a-f1e9-4dcc-9361-9c9032f79aa6" providerId="ADAL" clId="{6AF61DC8-5E05-4FE1-A07C-02FA3C0DCBF9}" dt="2021-10-18T18:17:09.611" v="468" actId="2696"/>
        <pc:sldMkLst>
          <pc:docMk/>
          <pc:sldMk cId="2025672423" sldId="927"/>
        </pc:sldMkLst>
      </pc:sldChg>
      <pc:sldChg chg="add">
        <pc:chgData name="Timothy Mazzotta" userId="32cdfb0a-f1e9-4dcc-9361-9c9032f79aa6" providerId="ADAL" clId="{6AF61DC8-5E05-4FE1-A07C-02FA3C0DCBF9}" dt="2021-10-18T17:57:51.886" v="257"/>
        <pc:sldMkLst>
          <pc:docMk/>
          <pc:sldMk cId="1239606076" sldId="928"/>
        </pc:sldMkLst>
      </pc:sldChg>
      <pc:sldChg chg="del">
        <pc:chgData name="Timothy Mazzotta" userId="32cdfb0a-f1e9-4dcc-9361-9c9032f79aa6" providerId="ADAL" clId="{6AF61DC8-5E05-4FE1-A07C-02FA3C0DCBF9}" dt="2021-10-18T17:48:10.630" v="233" actId="47"/>
        <pc:sldMkLst>
          <pc:docMk/>
          <pc:sldMk cId="3805078871" sldId="928"/>
        </pc:sldMkLst>
      </pc:sldChg>
      <pc:sldChg chg="modSp del mod modClrScheme modShow chgLayout">
        <pc:chgData name="Timothy Mazzotta" userId="32cdfb0a-f1e9-4dcc-9361-9c9032f79aa6" providerId="ADAL" clId="{6AF61DC8-5E05-4FE1-A07C-02FA3C0DCBF9}" dt="2021-10-18T17:43:29.407" v="232" actId="47"/>
        <pc:sldMkLst>
          <pc:docMk/>
          <pc:sldMk cId="1798634872" sldId="930"/>
        </pc:sldMkLst>
        <pc:spChg chg="mod ord">
          <ac:chgData name="Timothy Mazzotta" userId="32cdfb0a-f1e9-4dcc-9361-9c9032f79aa6" providerId="ADAL" clId="{6AF61DC8-5E05-4FE1-A07C-02FA3C0DCBF9}" dt="2021-10-18T12:25:11.211" v="85" actId="1076"/>
          <ac:spMkLst>
            <pc:docMk/>
            <pc:sldMk cId="1798634872" sldId="930"/>
            <ac:spMk id="8" creationId="{00000000-0000-0000-0000-000000000000}"/>
          </ac:spMkLst>
        </pc:spChg>
        <pc:spChg chg="mod ord">
          <ac:chgData name="Timothy Mazzotta" userId="32cdfb0a-f1e9-4dcc-9361-9c9032f79aa6" providerId="ADAL" clId="{6AF61DC8-5E05-4FE1-A07C-02FA3C0DCBF9}" dt="2021-10-18T12:24:39.851" v="82" actId="700"/>
          <ac:spMkLst>
            <pc:docMk/>
            <pc:sldMk cId="1798634872" sldId="930"/>
            <ac:spMk id="114690" creationId="{00000000-0000-0000-0000-000000000000}"/>
          </ac:spMkLst>
        </pc:spChg>
      </pc:sldChg>
      <pc:sldChg chg="del">
        <pc:chgData name="Timothy Mazzotta" userId="32cdfb0a-f1e9-4dcc-9361-9c9032f79aa6" providerId="ADAL" clId="{6AF61DC8-5E05-4FE1-A07C-02FA3C0DCBF9}" dt="2021-10-18T18:16:54.965" v="465" actId="2696"/>
        <pc:sldMkLst>
          <pc:docMk/>
          <pc:sldMk cId="3669488015" sldId="932"/>
        </pc:sldMkLst>
      </pc:sldChg>
      <pc:sldChg chg="modSp mod modClrScheme modShow chgLayout">
        <pc:chgData name="Timothy Mazzotta" userId="32cdfb0a-f1e9-4dcc-9361-9c9032f79aa6" providerId="ADAL" clId="{6AF61DC8-5E05-4FE1-A07C-02FA3C0DCBF9}" dt="2021-10-18T12:23:30.870" v="77" actId="729"/>
        <pc:sldMkLst>
          <pc:docMk/>
          <pc:sldMk cId="1133391917" sldId="937"/>
        </pc:sldMkLst>
        <pc:spChg chg="mod ord">
          <ac:chgData name="Timothy Mazzotta" userId="32cdfb0a-f1e9-4dcc-9361-9c9032f79aa6" providerId="ADAL" clId="{6AF61DC8-5E05-4FE1-A07C-02FA3C0DCBF9}" dt="2021-10-18T12:22:57.641" v="74" actId="700"/>
          <ac:spMkLst>
            <pc:docMk/>
            <pc:sldMk cId="1133391917" sldId="937"/>
            <ac:spMk id="2" creationId="{F34F73D1-B121-4F18-8EB1-EEAE79E16391}"/>
          </ac:spMkLst>
        </pc:spChg>
        <pc:graphicFrameChg chg="mod ord">
          <ac:chgData name="Timothy Mazzotta" userId="32cdfb0a-f1e9-4dcc-9361-9c9032f79aa6" providerId="ADAL" clId="{6AF61DC8-5E05-4FE1-A07C-02FA3C0DCBF9}" dt="2021-10-18T12:23:03.533" v="75" actId="1076"/>
          <ac:graphicFrameMkLst>
            <pc:docMk/>
            <pc:sldMk cId="1133391917" sldId="937"/>
            <ac:graphicFrameMk id="4" creationId="{2073493E-1A5A-4F63-B63F-87AE2BF4D868}"/>
          </ac:graphicFrameMkLst>
        </pc:graphicFrameChg>
      </pc:sldChg>
      <pc:sldChg chg="modSp del mod modClrScheme chgLayout">
        <pc:chgData name="Timothy Mazzotta" userId="32cdfb0a-f1e9-4dcc-9361-9c9032f79aa6" providerId="ADAL" clId="{6AF61DC8-5E05-4FE1-A07C-02FA3C0DCBF9}" dt="2021-10-18T18:11:59.567" v="463" actId="47"/>
        <pc:sldMkLst>
          <pc:docMk/>
          <pc:sldMk cId="3762618700" sldId="938"/>
        </pc:sldMkLst>
        <pc:spChg chg="mod ord">
          <ac:chgData name="Timothy Mazzotta" userId="32cdfb0a-f1e9-4dcc-9361-9c9032f79aa6" providerId="ADAL" clId="{6AF61DC8-5E05-4FE1-A07C-02FA3C0DCBF9}" dt="2021-10-18T12:26:06.277" v="87" actId="700"/>
          <ac:spMkLst>
            <pc:docMk/>
            <pc:sldMk cId="3762618700" sldId="938"/>
            <ac:spMk id="2" creationId="{8AE6CF88-77B7-433D-96C6-5043907FD570}"/>
          </ac:spMkLst>
        </pc:spChg>
      </pc:sldChg>
      <pc:sldChg chg="modSp del mod modClrScheme chgLayout">
        <pc:chgData name="Timothy Mazzotta" userId="32cdfb0a-f1e9-4dcc-9361-9c9032f79aa6" providerId="ADAL" clId="{6AF61DC8-5E05-4FE1-A07C-02FA3C0DCBF9}" dt="2021-10-18T18:11:59.567" v="463" actId="47"/>
        <pc:sldMkLst>
          <pc:docMk/>
          <pc:sldMk cId="2300779724" sldId="939"/>
        </pc:sldMkLst>
        <pc:spChg chg="mod ord">
          <ac:chgData name="Timothy Mazzotta" userId="32cdfb0a-f1e9-4dcc-9361-9c9032f79aa6" providerId="ADAL" clId="{6AF61DC8-5E05-4FE1-A07C-02FA3C0DCBF9}" dt="2021-10-18T12:26:06.277" v="87" actId="700"/>
          <ac:spMkLst>
            <pc:docMk/>
            <pc:sldMk cId="2300779724" sldId="939"/>
            <ac:spMk id="2" creationId="{C1C5BD80-0FB3-4E42-9C5B-B2161037B469}"/>
          </ac:spMkLst>
        </pc:spChg>
      </pc:sldChg>
      <pc:sldChg chg="modSp del mod modClrScheme chgLayout">
        <pc:chgData name="Timothy Mazzotta" userId="32cdfb0a-f1e9-4dcc-9361-9c9032f79aa6" providerId="ADAL" clId="{6AF61DC8-5E05-4FE1-A07C-02FA3C0DCBF9}" dt="2021-10-18T18:11:59.567" v="463" actId="47"/>
        <pc:sldMkLst>
          <pc:docMk/>
          <pc:sldMk cId="3541263826" sldId="940"/>
        </pc:sldMkLst>
        <pc:spChg chg="mod ord">
          <ac:chgData name="Timothy Mazzotta" userId="32cdfb0a-f1e9-4dcc-9361-9c9032f79aa6" providerId="ADAL" clId="{6AF61DC8-5E05-4FE1-A07C-02FA3C0DCBF9}" dt="2021-10-18T12:26:06.277" v="87" actId="700"/>
          <ac:spMkLst>
            <pc:docMk/>
            <pc:sldMk cId="3541263826" sldId="940"/>
            <ac:spMk id="2" creationId="{592FA76E-B6DC-4EE7-9B45-FFB856109A09}"/>
          </ac:spMkLst>
        </pc:spChg>
      </pc:sldChg>
      <pc:sldChg chg="modSp mod modClrScheme chgLayout">
        <pc:chgData name="Timothy Mazzotta" userId="32cdfb0a-f1e9-4dcc-9361-9c9032f79aa6" providerId="ADAL" clId="{6AF61DC8-5E05-4FE1-A07C-02FA3C0DCBF9}" dt="2021-10-18T12:22:57.641" v="74" actId="700"/>
        <pc:sldMkLst>
          <pc:docMk/>
          <pc:sldMk cId="4056646813" sldId="1391"/>
        </pc:sldMkLst>
        <pc:spChg chg="mod ord">
          <ac:chgData name="Timothy Mazzotta" userId="32cdfb0a-f1e9-4dcc-9361-9c9032f79aa6" providerId="ADAL" clId="{6AF61DC8-5E05-4FE1-A07C-02FA3C0DCBF9}" dt="2021-10-18T12:22:57.641" v="74" actId="700"/>
          <ac:spMkLst>
            <pc:docMk/>
            <pc:sldMk cId="4056646813" sldId="1391"/>
            <ac:spMk id="2" creationId="{9C7A00FC-F6FA-442A-B717-9468BF7A288F}"/>
          </ac:spMkLst>
        </pc:spChg>
      </pc:sldChg>
      <pc:sldChg chg="modSp mod modClrScheme chgLayout">
        <pc:chgData name="Timothy Mazzotta" userId="32cdfb0a-f1e9-4dcc-9361-9c9032f79aa6" providerId="ADAL" clId="{6AF61DC8-5E05-4FE1-A07C-02FA3C0DCBF9}" dt="2021-10-18T12:23:20.117" v="76" actId="1076"/>
        <pc:sldMkLst>
          <pc:docMk/>
          <pc:sldMk cId="1674556149" sldId="1410"/>
        </pc:sldMkLst>
        <pc:spChg chg="mod ord">
          <ac:chgData name="Timothy Mazzotta" userId="32cdfb0a-f1e9-4dcc-9361-9c9032f79aa6" providerId="ADAL" clId="{6AF61DC8-5E05-4FE1-A07C-02FA3C0DCBF9}" dt="2021-10-18T12:22:57.641" v="74" actId="700"/>
          <ac:spMkLst>
            <pc:docMk/>
            <pc:sldMk cId="1674556149" sldId="1410"/>
            <ac:spMk id="2" creationId="{EACD52DA-7508-4AB4-9AD6-884B6B4B511F}"/>
          </ac:spMkLst>
        </pc:spChg>
        <pc:spChg chg="mod ord">
          <ac:chgData name="Timothy Mazzotta" userId="32cdfb0a-f1e9-4dcc-9361-9c9032f79aa6" providerId="ADAL" clId="{6AF61DC8-5E05-4FE1-A07C-02FA3C0DCBF9}" dt="2021-10-18T12:23:20.117" v="76" actId="1076"/>
          <ac:spMkLst>
            <pc:docMk/>
            <pc:sldMk cId="1674556149" sldId="1410"/>
            <ac:spMk id="3" creationId="{A60CB79D-10B0-4000-B950-5CD065CECD65}"/>
          </ac:spMkLst>
        </pc:spChg>
      </pc:sldChg>
      <pc:sldChg chg="modSp mod modClrScheme chgLayout">
        <pc:chgData name="Timothy Mazzotta" userId="32cdfb0a-f1e9-4dcc-9361-9c9032f79aa6" providerId="ADAL" clId="{6AF61DC8-5E05-4FE1-A07C-02FA3C0DCBF9}" dt="2021-10-18T12:22:57.641" v="74" actId="700"/>
        <pc:sldMkLst>
          <pc:docMk/>
          <pc:sldMk cId="262552978" sldId="1418"/>
        </pc:sldMkLst>
        <pc:spChg chg="mod ord">
          <ac:chgData name="Timothy Mazzotta" userId="32cdfb0a-f1e9-4dcc-9361-9c9032f79aa6" providerId="ADAL" clId="{6AF61DC8-5E05-4FE1-A07C-02FA3C0DCBF9}" dt="2021-10-18T12:22:57.641" v="74" actId="700"/>
          <ac:spMkLst>
            <pc:docMk/>
            <pc:sldMk cId="262552978" sldId="1418"/>
            <ac:spMk id="2" creationId="{F0CF6891-20D4-42F0-B6F8-AD97F2D01210}"/>
          </ac:spMkLst>
        </pc:spChg>
        <pc:graphicFrameChg chg="mod ord">
          <ac:chgData name="Timothy Mazzotta" userId="32cdfb0a-f1e9-4dcc-9361-9c9032f79aa6" providerId="ADAL" clId="{6AF61DC8-5E05-4FE1-A07C-02FA3C0DCBF9}" dt="2021-10-18T12:22:57.641" v="74" actId="700"/>
          <ac:graphicFrameMkLst>
            <pc:docMk/>
            <pc:sldMk cId="262552978" sldId="1418"/>
            <ac:graphicFrameMk id="4" creationId="{1CE0C176-456D-4D82-8321-B50D9DBAFAF0}"/>
          </ac:graphicFrameMkLst>
        </pc:graphicFrameChg>
      </pc:sldChg>
      <pc:sldChg chg="modSp mod modClrScheme chgLayout">
        <pc:chgData name="Timothy Mazzotta" userId="32cdfb0a-f1e9-4dcc-9361-9c9032f79aa6" providerId="ADAL" clId="{6AF61DC8-5E05-4FE1-A07C-02FA3C0DCBF9}" dt="2021-10-18T12:22:57.641" v="74" actId="700"/>
        <pc:sldMkLst>
          <pc:docMk/>
          <pc:sldMk cId="823125269" sldId="1442"/>
        </pc:sldMkLst>
        <pc:spChg chg="mod ord">
          <ac:chgData name="Timothy Mazzotta" userId="32cdfb0a-f1e9-4dcc-9361-9c9032f79aa6" providerId="ADAL" clId="{6AF61DC8-5E05-4FE1-A07C-02FA3C0DCBF9}" dt="2021-10-18T12:22:57.641" v="74" actId="700"/>
          <ac:spMkLst>
            <pc:docMk/>
            <pc:sldMk cId="823125269" sldId="1442"/>
            <ac:spMk id="2" creationId="{F0CF6891-20D4-42F0-B6F8-AD97F2D01210}"/>
          </ac:spMkLst>
        </pc:spChg>
        <pc:graphicFrameChg chg="mod ord">
          <ac:chgData name="Timothy Mazzotta" userId="32cdfb0a-f1e9-4dcc-9361-9c9032f79aa6" providerId="ADAL" clId="{6AF61DC8-5E05-4FE1-A07C-02FA3C0DCBF9}" dt="2021-10-18T12:22:57.641" v="74" actId="700"/>
          <ac:graphicFrameMkLst>
            <pc:docMk/>
            <pc:sldMk cId="823125269" sldId="1442"/>
            <ac:graphicFrameMk id="4" creationId="{1CE0C176-456D-4D82-8321-B50D9DBAFAF0}"/>
          </ac:graphicFrameMkLst>
        </pc:graphicFrameChg>
      </pc:sldChg>
      <pc:sldChg chg="modSp del mod modClrScheme chgLayout">
        <pc:chgData name="Timothy Mazzotta" userId="32cdfb0a-f1e9-4dcc-9361-9c9032f79aa6" providerId="ADAL" clId="{6AF61DC8-5E05-4FE1-A07C-02FA3C0DCBF9}" dt="2021-10-18T18:24:25.516" v="485" actId="47"/>
        <pc:sldMkLst>
          <pc:docMk/>
          <pc:sldMk cId="560560037" sldId="1444"/>
        </pc:sldMkLst>
        <pc:spChg chg="mod ord">
          <ac:chgData name="Timothy Mazzotta" userId="32cdfb0a-f1e9-4dcc-9361-9c9032f79aa6" providerId="ADAL" clId="{6AF61DC8-5E05-4FE1-A07C-02FA3C0DCBF9}" dt="2021-10-18T12:26:06.277" v="87" actId="700"/>
          <ac:spMkLst>
            <pc:docMk/>
            <pc:sldMk cId="560560037" sldId="1444"/>
            <ac:spMk id="4" creationId="{C8986122-3C58-4014-8611-B12CC1DFBCAC}"/>
          </ac:spMkLst>
        </pc:spChg>
      </pc:sldChg>
      <pc:sldChg chg="modSp mod modClrScheme modShow chgLayout">
        <pc:chgData name="Timothy Mazzotta" userId="32cdfb0a-f1e9-4dcc-9361-9c9032f79aa6" providerId="ADAL" clId="{6AF61DC8-5E05-4FE1-A07C-02FA3C0DCBF9}" dt="2021-10-18T12:24:59.748" v="84" actId="14100"/>
        <pc:sldMkLst>
          <pc:docMk/>
          <pc:sldMk cId="384603354" sldId="1445"/>
        </pc:sldMkLst>
        <pc:spChg chg="mod ord">
          <ac:chgData name="Timothy Mazzotta" userId="32cdfb0a-f1e9-4dcc-9361-9c9032f79aa6" providerId="ADAL" clId="{6AF61DC8-5E05-4FE1-A07C-02FA3C0DCBF9}" dt="2021-10-18T12:24:39.851" v="82" actId="700"/>
          <ac:spMkLst>
            <pc:docMk/>
            <pc:sldMk cId="384603354" sldId="1445"/>
            <ac:spMk id="5" creationId="{2EB552F1-624C-47F8-9EA8-EEAB77898502}"/>
          </ac:spMkLst>
        </pc:spChg>
        <pc:spChg chg="mod ord">
          <ac:chgData name="Timothy Mazzotta" userId="32cdfb0a-f1e9-4dcc-9361-9c9032f79aa6" providerId="ADAL" clId="{6AF61DC8-5E05-4FE1-A07C-02FA3C0DCBF9}" dt="2021-10-18T12:24:59.748" v="84" actId="14100"/>
          <ac:spMkLst>
            <pc:docMk/>
            <pc:sldMk cId="384603354" sldId="1445"/>
            <ac:spMk id="6" creationId="{481EB52A-A039-4A4B-AF3F-489AC811FE09}"/>
          </ac:spMkLst>
        </pc:spChg>
      </pc:sldChg>
      <pc:sldChg chg="del">
        <pc:chgData name="Timothy Mazzotta" userId="32cdfb0a-f1e9-4dcc-9361-9c9032f79aa6" providerId="ADAL" clId="{6AF61DC8-5E05-4FE1-A07C-02FA3C0DCBF9}" dt="2021-10-18T18:16:54.965" v="465" actId="2696"/>
        <pc:sldMkLst>
          <pc:docMk/>
          <pc:sldMk cId="338256996" sldId="1447"/>
        </pc:sldMkLst>
      </pc:sldChg>
      <pc:sldChg chg="mod modShow">
        <pc:chgData name="Timothy Mazzotta" userId="32cdfb0a-f1e9-4dcc-9361-9c9032f79aa6" providerId="ADAL" clId="{6AF61DC8-5E05-4FE1-A07C-02FA3C0DCBF9}" dt="2021-10-18T18:50:24.336" v="888" actId="729"/>
        <pc:sldMkLst>
          <pc:docMk/>
          <pc:sldMk cId="443035434" sldId="1448"/>
        </pc:sldMkLst>
      </pc:sldChg>
      <pc:sldChg chg="modSp mod modClrScheme modShow chgLayout">
        <pc:chgData name="Timothy Mazzotta" userId="32cdfb0a-f1e9-4dcc-9361-9c9032f79aa6" providerId="ADAL" clId="{6AF61DC8-5E05-4FE1-A07C-02FA3C0DCBF9}" dt="2021-10-18T20:14:41.378" v="995" actId="20577"/>
        <pc:sldMkLst>
          <pc:docMk/>
          <pc:sldMk cId="1147567193" sldId="1453"/>
        </pc:sldMkLst>
        <pc:spChg chg="mod ord">
          <ac:chgData name="Timothy Mazzotta" userId="32cdfb0a-f1e9-4dcc-9361-9c9032f79aa6" providerId="ADAL" clId="{6AF61DC8-5E05-4FE1-A07C-02FA3C0DCBF9}" dt="2021-10-18T12:19:38.017" v="9" actId="700"/>
          <ac:spMkLst>
            <pc:docMk/>
            <pc:sldMk cId="1147567193" sldId="1453"/>
            <ac:spMk id="2" creationId="{613263AA-BE0E-4EDA-9AEF-B91FC89EED55}"/>
          </ac:spMkLst>
        </pc:spChg>
        <pc:spChg chg="mod ord">
          <ac:chgData name="Timothy Mazzotta" userId="32cdfb0a-f1e9-4dcc-9361-9c9032f79aa6" providerId="ADAL" clId="{6AF61DC8-5E05-4FE1-A07C-02FA3C0DCBF9}" dt="2021-10-18T20:14:41.378" v="995" actId="20577"/>
          <ac:spMkLst>
            <pc:docMk/>
            <pc:sldMk cId="1147567193" sldId="1453"/>
            <ac:spMk id="3" creationId="{85182A86-9E47-49F2-A59F-0A3791544C2F}"/>
          </ac:spMkLst>
        </pc:spChg>
      </pc:sldChg>
      <pc:sldChg chg="del ord">
        <pc:chgData name="Timothy Mazzotta" userId="32cdfb0a-f1e9-4dcc-9361-9c9032f79aa6" providerId="ADAL" clId="{6AF61DC8-5E05-4FE1-A07C-02FA3C0DCBF9}" dt="2021-10-18T18:49:40.088" v="887" actId="47"/>
        <pc:sldMkLst>
          <pc:docMk/>
          <pc:sldMk cId="3998394985" sldId="1456"/>
        </pc:sldMkLst>
      </pc:sldChg>
      <pc:sldChg chg="del">
        <pc:chgData name="Timothy Mazzotta" userId="32cdfb0a-f1e9-4dcc-9361-9c9032f79aa6" providerId="ADAL" clId="{6AF61DC8-5E05-4FE1-A07C-02FA3C0DCBF9}" dt="2021-10-18T17:48:10.630" v="233" actId="47"/>
        <pc:sldMkLst>
          <pc:docMk/>
          <pc:sldMk cId="3189190004" sldId="1458"/>
        </pc:sldMkLst>
      </pc:sldChg>
      <pc:sldChg chg="del">
        <pc:chgData name="Timothy Mazzotta" userId="32cdfb0a-f1e9-4dcc-9361-9c9032f79aa6" providerId="ADAL" clId="{6AF61DC8-5E05-4FE1-A07C-02FA3C0DCBF9}" dt="2021-10-18T17:48:10.630" v="233" actId="47"/>
        <pc:sldMkLst>
          <pc:docMk/>
          <pc:sldMk cId="1636962563" sldId="1459"/>
        </pc:sldMkLst>
      </pc:sldChg>
      <pc:sldChg chg="del">
        <pc:chgData name="Timothy Mazzotta" userId="32cdfb0a-f1e9-4dcc-9361-9c9032f79aa6" providerId="ADAL" clId="{6AF61DC8-5E05-4FE1-A07C-02FA3C0DCBF9}" dt="2021-10-18T17:48:49.748" v="235" actId="47"/>
        <pc:sldMkLst>
          <pc:docMk/>
          <pc:sldMk cId="4063945109" sldId="1460"/>
        </pc:sldMkLst>
      </pc:sldChg>
      <pc:sldChg chg="del">
        <pc:chgData name="Timothy Mazzotta" userId="32cdfb0a-f1e9-4dcc-9361-9c9032f79aa6" providerId="ADAL" clId="{6AF61DC8-5E05-4FE1-A07C-02FA3C0DCBF9}" dt="2021-10-18T17:48:47.316" v="234" actId="47"/>
        <pc:sldMkLst>
          <pc:docMk/>
          <pc:sldMk cId="1810246738" sldId="1463"/>
        </pc:sldMkLst>
      </pc:sldChg>
      <pc:sldChg chg="delSp modSp mod ord modClrScheme modShow chgLayout">
        <pc:chgData name="Timothy Mazzotta" userId="32cdfb0a-f1e9-4dcc-9361-9c9032f79aa6" providerId="ADAL" clId="{6AF61DC8-5E05-4FE1-A07C-02FA3C0DCBF9}" dt="2021-10-18T18:51:40.242" v="892" actId="1076"/>
        <pc:sldMkLst>
          <pc:docMk/>
          <pc:sldMk cId="3537555620" sldId="1464"/>
        </pc:sldMkLst>
        <pc:spChg chg="mod ord">
          <ac:chgData name="Timothy Mazzotta" userId="32cdfb0a-f1e9-4dcc-9361-9c9032f79aa6" providerId="ADAL" clId="{6AF61DC8-5E05-4FE1-A07C-02FA3C0DCBF9}" dt="2021-10-18T18:51:22.457" v="891" actId="700"/>
          <ac:spMkLst>
            <pc:docMk/>
            <pc:sldMk cId="3537555620" sldId="1464"/>
            <ac:spMk id="2" creationId="{6C856D4D-D1FC-4F94-B500-B3750EACC467}"/>
          </ac:spMkLst>
        </pc:spChg>
        <pc:spChg chg="mod">
          <ac:chgData name="Timothy Mazzotta" userId="32cdfb0a-f1e9-4dcc-9361-9c9032f79aa6" providerId="ADAL" clId="{6AF61DC8-5E05-4FE1-A07C-02FA3C0DCBF9}" dt="2021-10-18T18:23:19.584" v="476" actId="14100"/>
          <ac:spMkLst>
            <pc:docMk/>
            <pc:sldMk cId="3537555620" sldId="1464"/>
            <ac:spMk id="7" creationId="{5B69F74C-0AEF-4FFE-A4B5-56B93457167F}"/>
          </ac:spMkLst>
        </pc:spChg>
        <pc:spChg chg="mod">
          <ac:chgData name="Timothy Mazzotta" userId="32cdfb0a-f1e9-4dcc-9361-9c9032f79aa6" providerId="ADAL" clId="{6AF61DC8-5E05-4FE1-A07C-02FA3C0DCBF9}" dt="2021-10-18T18:23:29.344" v="481" actId="14100"/>
          <ac:spMkLst>
            <pc:docMk/>
            <pc:sldMk cId="3537555620" sldId="1464"/>
            <ac:spMk id="8" creationId="{1503A0C6-37DB-48D6-B106-D11970DA4AAC}"/>
          </ac:spMkLst>
        </pc:spChg>
        <pc:spChg chg="del">
          <ac:chgData name="Timothy Mazzotta" userId="32cdfb0a-f1e9-4dcc-9361-9c9032f79aa6" providerId="ADAL" clId="{6AF61DC8-5E05-4FE1-A07C-02FA3C0DCBF9}" dt="2021-10-18T18:30:28.144" v="502" actId="478"/>
          <ac:spMkLst>
            <pc:docMk/>
            <pc:sldMk cId="3537555620" sldId="1464"/>
            <ac:spMk id="12" creationId="{AE9FDAE4-E855-4C6A-82AA-89F9C8D18CB0}"/>
          </ac:spMkLst>
        </pc:spChg>
        <pc:spChg chg="mod">
          <ac:chgData name="Timothy Mazzotta" userId="32cdfb0a-f1e9-4dcc-9361-9c9032f79aa6" providerId="ADAL" clId="{6AF61DC8-5E05-4FE1-A07C-02FA3C0DCBF9}" dt="2021-10-18T18:51:40.242" v="892" actId="1076"/>
          <ac:spMkLst>
            <pc:docMk/>
            <pc:sldMk cId="3537555620" sldId="1464"/>
            <ac:spMk id="13" creationId="{069070DE-4C66-488F-BD01-850554DD04C1}"/>
          </ac:spMkLst>
        </pc:spChg>
        <pc:picChg chg="mod">
          <ac:chgData name="Timothy Mazzotta" userId="32cdfb0a-f1e9-4dcc-9361-9c9032f79aa6" providerId="ADAL" clId="{6AF61DC8-5E05-4FE1-A07C-02FA3C0DCBF9}" dt="2021-10-18T18:42:46.184" v="752" actId="108"/>
          <ac:picMkLst>
            <pc:docMk/>
            <pc:sldMk cId="3537555620" sldId="1464"/>
            <ac:picMk id="16" creationId="{833DB4BC-7492-409E-87EB-C9D9AF75E3A3}"/>
          </ac:picMkLst>
        </pc:picChg>
      </pc:sldChg>
      <pc:sldChg chg="del">
        <pc:chgData name="Timothy Mazzotta" userId="32cdfb0a-f1e9-4dcc-9361-9c9032f79aa6" providerId="ADAL" clId="{6AF61DC8-5E05-4FE1-A07C-02FA3C0DCBF9}" dt="2021-10-18T18:24:21.858" v="484" actId="47"/>
        <pc:sldMkLst>
          <pc:docMk/>
          <pc:sldMk cId="441415071" sldId="1465"/>
        </pc:sldMkLst>
      </pc:sldChg>
      <pc:sldChg chg="addSp delSp modSp mod modClrScheme modShow chgLayout">
        <pc:chgData name="Timothy Mazzotta" userId="32cdfb0a-f1e9-4dcc-9361-9c9032f79aa6" providerId="ADAL" clId="{6AF61DC8-5E05-4FE1-A07C-02FA3C0DCBF9}" dt="2021-10-18T19:06:51.023" v="965" actId="108"/>
        <pc:sldMkLst>
          <pc:docMk/>
          <pc:sldMk cId="1572829594" sldId="1467"/>
        </pc:sldMkLst>
        <pc:spChg chg="mod ord">
          <ac:chgData name="Timothy Mazzotta" userId="32cdfb0a-f1e9-4dcc-9361-9c9032f79aa6" providerId="ADAL" clId="{6AF61DC8-5E05-4FE1-A07C-02FA3C0DCBF9}" dt="2021-10-18T19:06:14.577" v="959" actId="20577"/>
          <ac:spMkLst>
            <pc:docMk/>
            <pc:sldMk cId="1572829594" sldId="1467"/>
            <ac:spMk id="2" creationId="{6C856D4D-D1FC-4F94-B500-B3750EACC467}"/>
          </ac:spMkLst>
        </pc:spChg>
        <pc:spChg chg="del">
          <ac:chgData name="Timothy Mazzotta" userId="32cdfb0a-f1e9-4dcc-9361-9c9032f79aa6" providerId="ADAL" clId="{6AF61DC8-5E05-4FE1-A07C-02FA3C0DCBF9}" dt="2021-10-18T19:06:34.319" v="963" actId="478"/>
          <ac:spMkLst>
            <pc:docMk/>
            <pc:sldMk cId="1572829594" sldId="1467"/>
            <ac:spMk id="9" creationId="{27AC019C-73AE-42AB-A94F-0F3128DDFFF0}"/>
          </ac:spMkLst>
        </pc:spChg>
        <pc:spChg chg="del mod">
          <ac:chgData name="Timothy Mazzotta" userId="32cdfb0a-f1e9-4dcc-9361-9c9032f79aa6" providerId="ADAL" clId="{6AF61DC8-5E05-4FE1-A07C-02FA3C0DCBF9}" dt="2021-10-18T19:00:57.043" v="898" actId="478"/>
          <ac:spMkLst>
            <pc:docMk/>
            <pc:sldMk cId="1572829594" sldId="1467"/>
            <ac:spMk id="11" creationId="{D0DFEC44-4C88-4DD6-BAFD-B08C82CAECE9}"/>
          </ac:spMkLst>
        </pc:spChg>
        <pc:picChg chg="add mod">
          <ac:chgData name="Timothy Mazzotta" userId="32cdfb0a-f1e9-4dcc-9361-9c9032f79aa6" providerId="ADAL" clId="{6AF61DC8-5E05-4FE1-A07C-02FA3C0DCBF9}" dt="2021-10-18T19:06:51.023" v="965" actId="108"/>
          <ac:picMkLst>
            <pc:docMk/>
            <pc:sldMk cId="1572829594" sldId="1467"/>
            <ac:picMk id="4" creationId="{5C501C41-00D2-4374-9F8D-D909FC857532}"/>
          </ac:picMkLst>
        </pc:picChg>
        <pc:picChg chg="del">
          <ac:chgData name="Timothy Mazzotta" userId="32cdfb0a-f1e9-4dcc-9361-9c9032f79aa6" providerId="ADAL" clId="{6AF61DC8-5E05-4FE1-A07C-02FA3C0DCBF9}" dt="2021-10-18T19:00:49.345" v="894" actId="478"/>
          <ac:picMkLst>
            <pc:docMk/>
            <pc:sldMk cId="1572829594" sldId="1467"/>
            <ac:picMk id="5" creationId="{201C5B08-8CB9-43F4-9513-F5E1EB78F713}"/>
          </ac:picMkLst>
        </pc:picChg>
      </pc:sldChg>
      <pc:sldChg chg="modSp mod modClrScheme modShow chgLayout">
        <pc:chgData name="Timothy Mazzotta" userId="32cdfb0a-f1e9-4dcc-9361-9c9032f79aa6" providerId="ADAL" clId="{6AF61DC8-5E05-4FE1-A07C-02FA3C0DCBF9}" dt="2021-10-18T12:23:48.996" v="79" actId="729"/>
        <pc:sldMkLst>
          <pc:docMk/>
          <pc:sldMk cId="164182001" sldId="1468"/>
        </pc:sldMkLst>
        <pc:spChg chg="mod ord">
          <ac:chgData name="Timothy Mazzotta" userId="32cdfb0a-f1e9-4dcc-9361-9c9032f79aa6" providerId="ADAL" clId="{6AF61DC8-5E05-4FE1-A07C-02FA3C0DCBF9}" dt="2021-10-18T12:21:20.774" v="13" actId="700"/>
          <ac:spMkLst>
            <pc:docMk/>
            <pc:sldMk cId="164182001" sldId="1468"/>
            <ac:spMk id="2" creationId="{613263AA-BE0E-4EDA-9AEF-B91FC89EED55}"/>
          </ac:spMkLst>
        </pc:spChg>
        <pc:spChg chg="mod ord">
          <ac:chgData name="Timothy Mazzotta" userId="32cdfb0a-f1e9-4dcc-9361-9c9032f79aa6" providerId="ADAL" clId="{6AF61DC8-5E05-4FE1-A07C-02FA3C0DCBF9}" dt="2021-10-18T12:21:55.018" v="73" actId="14100"/>
          <ac:spMkLst>
            <pc:docMk/>
            <pc:sldMk cId="164182001" sldId="1468"/>
            <ac:spMk id="3" creationId="{85182A86-9E47-49F2-A59F-0A3791544C2F}"/>
          </ac:spMkLst>
        </pc:spChg>
      </pc:sldChg>
      <pc:sldChg chg="modSp mod modClrScheme modShow chgLayout">
        <pc:chgData name="Timothy Mazzotta" userId="32cdfb0a-f1e9-4dcc-9361-9c9032f79aa6" providerId="ADAL" clId="{6AF61DC8-5E05-4FE1-A07C-02FA3C0DCBF9}" dt="2021-10-18T20:15:48.312" v="1026" actId="20577"/>
        <pc:sldMkLst>
          <pc:docMk/>
          <pc:sldMk cId="3097396221" sldId="1469"/>
        </pc:sldMkLst>
        <pc:spChg chg="mod ord">
          <ac:chgData name="Timothy Mazzotta" userId="32cdfb0a-f1e9-4dcc-9361-9c9032f79aa6" providerId="ADAL" clId="{6AF61DC8-5E05-4FE1-A07C-02FA3C0DCBF9}" dt="2021-10-18T12:21:08.026" v="12" actId="700"/>
          <ac:spMkLst>
            <pc:docMk/>
            <pc:sldMk cId="3097396221" sldId="1469"/>
            <ac:spMk id="2" creationId="{613263AA-BE0E-4EDA-9AEF-B91FC89EED55}"/>
          </ac:spMkLst>
        </pc:spChg>
        <pc:spChg chg="mod ord">
          <ac:chgData name="Timothy Mazzotta" userId="32cdfb0a-f1e9-4dcc-9361-9c9032f79aa6" providerId="ADAL" clId="{6AF61DC8-5E05-4FE1-A07C-02FA3C0DCBF9}" dt="2021-10-18T20:15:48.312" v="1026" actId="20577"/>
          <ac:spMkLst>
            <pc:docMk/>
            <pc:sldMk cId="3097396221" sldId="1469"/>
            <ac:spMk id="3" creationId="{85182A86-9E47-49F2-A59F-0A3791544C2F}"/>
          </ac:spMkLst>
        </pc:spChg>
      </pc:sldChg>
      <pc:sldChg chg="modSp mod modClrScheme modShow chgLayout">
        <pc:chgData name="Timothy Mazzotta" userId="32cdfb0a-f1e9-4dcc-9361-9c9032f79aa6" providerId="ADAL" clId="{6AF61DC8-5E05-4FE1-A07C-02FA3C0DCBF9}" dt="2021-10-18T17:41:20.724" v="231" actId="14100"/>
        <pc:sldMkLst>
          <pc:docMk/>
          <pc:sldMk cId="776129892" sldId="5527"/>
        </pc:sldMkLst>
        <pc:spChg chg="mod ord">
          <ac:chgData name="Timothy Mazzotta" userId="32cdfb0a-f1e9-4dcc-9361-9c9032f79aa6" providerId="ADAL" clId="{6AF61DC8-5E05-4FE1-A07C-02FA3C0DCBF9}" dt="2021-10-18T12:21:20.774" v="13" actId="700"/>
          <ac:spMkLst>
            <pc:docMk/>
            <pc:sldMk cId="776129892" sldId="5527"/>
            <ac:spMk id="2" creationId="{FE536143-FFB5-4C5C-8AA9-BB34BFBE6474}"/>
          </ac:spMkLst>
        </pc:spChg>
        <pc:spChg chg="mod ord">
          <ac:chgData name="Timothy Mazzotta" userId="32cdfb0a-f1e9-4dcc-9361-9c9032f79aa6" providerId="ADAL" clId="{6AF61DC8-5E05-4FE1-A07C-02FA3C0DCBF9}" dt="2021-10-18T17:41:20.724" v="231" actId="14100"/>
          <ac:spMkLst>
            <pc:docMk/>
            <pc:sldMk cId="776129892" sldId="5527"/>
            <ac:spMk id="3" creationId="{0063950F-84E4-494D-A975-91DD1B18FE34}"/>
          </ac:spMkLst>
        </pc:spChg>
      </pc:sldChg>
      <pc:sldChg chg="modSp mod modClrScheme modShow chgLayout">
        <pc:chgData name="Timothy Mazzotta" userId="32cdfb0a-f1e9-4dcc-9361-9c9032f79aa6" providerId="ADAL" clId="{6AF61DC8-5E05-4FE1-A07C-02FA3C0DCBF9}" dt="2021-10-18T12:24:39.851" v="82" actId="700"/>
        <pc:sldMkLst>
          <pc:docMk/>
          <pc:sldMk cId="1007033581" sldId="5528"/>
        </pc:sldMkLst>
        <pc:spChg chg="mod ord">
          <ac:chgData name="Timothy Mazzotta" userId="32cdfb0a-f1e9-4dcc-9361-9c9032f79aa6" providerId="ADAL" clId="{6AF61DC8-5E05-4FE1-A07C-02FA3C0DCBF9}" dt="2021-10-18T12:24:39.851" v="82" actId="700"/>
          <ac:spMkLst>
            <pc:docMk/>
            <pc:sldMk cId="1007033581" sldId="5528"/>
            <ac:spMk id="2" creationId="{CB8E31DB-1896-4162-9DA2-8E739E10DCE6}"/>
          </ac:spMkLst>
        </pc:spChg>
      </pc:sldChg>
      <pc:sldChg chg="del">
        <pc:chgData name="Timothy Mazzotta" userId="32cdfb0a-f1e9-4dcc-9361-9c9032f79aa6" providerId="ADAL" clId="{6AF61DC8-5E05-4FE1-A07C-02FA3C0DCBF9}" dt="2021-10-18T12:20:48.037" v="11" actId="2696"/>
        <pc:sldMkLst>
          <pc:docMk/>
          <pc:sldMk cId="2609418738" sldId="5529"/>
        </pc:sldMkLst>
      </pc:sldChg>
      <pc:sldChg chg="modSp mod modClrScheme chgLayout">
        <pc:chgData name="Timothy Mazzotta" userId="32cdfb0a-f1e9-4dcc-9361-9c9032f79aa6" providerId="ADAL" clId="{6AF61DC8-5E05-4FE1-A07C-02FA3C0DCBF9}" dt="2021-10-18T12:21:35.570" v="51" actId="1037"/>
        <pc:sldMkLst>
          <pc:docMk/>
          <pc:sldMk cId="1007398519" sldId="5530"/>
        </pc:sldMkLst>
        <pc:spChg chg="mod ord">
          <ac:chgData name="Timothy Mazzotta" userId="32cdfb0a-f1e9-4dcc-9361-9c9032f79aa6" providerId="ADAL" clId="{6AF61DC8-5E05-4FE1-A07C-02FA3C0DCBF9}" dt="2021-10-18T12:21:20.774" v="13" actId="700"/>
          <ac:spMkLst>
            <pc:docMk/>
            <pc:sldMk cId="1007398519" sldId="5530"/>
            <ac:spMk id="2" creationId="{F34F73D1-B121-4F18-8EB1-EEAE79E16391}"/>
          </ac:spMkLst>
        </pc:spChg>
        <pc:graphicFrameChg chg="mod ord">
          <ac:chgData name="Timothy Mazzotta" userId="32cdfb0a-f1e9-4dcc-9361-9c9032f79aa6" providerId="ADAL" clId="{6AF61DC8-5E05-4FE1-A07C-02FA3C0DCBF9}" dt="2021-10-18T12:21:35.570" v="51" actId="1037"/>
          <ac:graphicFrameMkLst>
            <pc:docMk/>
            <pc:sldMk cId="1007398519" sldId="5530"/>
            <ac:graphicFrameMk id="4" creationId="{2073493E-1A5A-4F63-B63F-87AE2BF4D868}"/>
          </ac:graphicFrameMkLst>
        </pc:graphicFrameChg>
      </pc:sldChg>
      <pc:sldChg chg="modSp del mod">
        <pc:chgData name="Timothy Mazzotta" userId="32cdfb0a-f1e9-4dcc-9361-9c9032f79aa6" providerId="ADAL" clId="{6AF61DC8-5E05-4FE1-A07C-02FA3C0DCBF9}" dt="2021-10-18T12:19:09.016" v="8" actId="2696"/>
        <pc:sldMkLst>
          <pc:docMk/>
          <pc:sldMk cId="2801680733" sldId="5531"/>
        </pc:sldMkLst>
        <pc:spChg chg="mod">
          <ac:chgData name="Timothy Mazzotta" userId="32cdfb0a-f1e9-4dcc-9361-9c9032f79aa6" providerId="ADAL" clId="{6AF61DC8-5E05-4FE1-A07C-02FA3C0DCBF9}" dt="2021-10-18T12:18:27.483" v="0" actId="21"/>
          <ac:spMkLst>
            <pc:docMk/>
            <pc:sldMk cId="2801680733" sldId="5531"/>
            <ac:spMk id="3" creationId="{85182A86-9E47-49F2-A59F-0A3791544C2F}"/>
          </ac:spMkLst>
        </pc:spChg>
      </pc:sldChg>
      <pc:sldChg chg="modSp del mod modClrScheme chgLayout">
        <pc:chgData name="Timothy Mazzotta" userId="32cdfb0a-f1e9-4dcc-9361-9c9032f79aa6" providerId="ADAL" clId="{6AF61DC8-5E05-4FE1-A07C-02FA3C0DCBF9}" dt="2021-10-18T18:52:08.429" v="893" actId="2696"/>
        <pc:sldMkLst>
          <pc:docMk/>
          <pc:sldMk cId="1106144604" sldId="5532"/>
        </pc:sldMkLst>
        <pc:spChg chg="mod ord">
          <ac:chgData name="Timothy Mazzotta" userId="32cdfb0a-f1e9-4dcc-9361-9c9032f79aa6" providerId="ADAL" clId="{6AF61DC8-5E05-4FE1-A07C-02FA3C0DCBF9}" dt="2021-10-18T18:51:22.457" v="891" actId="700"/>
          <ac:spMkLst>
            <pc:docMk/>
            <pc:sldMk cId="1106144604" sldId="5532"/>
            <ac:spMk id="2" creationId="{6C856D4D-D1FC-4F94-B500-B3750EACC467}"/>
          </ac:spMkLst>
        </pc:spChg>
      </pc:sldChg>
      <pc:sldChg chg="modSp del mod modClrScheme modShow chgLayout">
        <pc:chgData name="Timothy Mazzotta" userId="32cdfb0a-f1e9-4dcc-9361-9c9032f79aa6" providerId="ADAL" clId="{6AF61DC8-5E05-4FE1-A07C-02FA3C0DCBF9}" dt="2021-10-18T19:05:22.583" v="908" actId="47"/>
        <pc:sldMkLst>
          <pc:docMk/>
          <pc:sldMk cId="1090095229" sldId="5534"/>
        </pc:sldMkLst>
        <pc:spChg chg="mod ord">
          <ac:chgData name="Timothy Mazzotta" userId="32cdfb0a-f1e9-4dcc-9361-9c9032f79aa6" providerId="ADAL" clId="{6AF61DC8-5E05-4FE1-A07C-02FA3C0DCBF9}" dt="2021-10-18T18:50:37.631" v="889" actId="700"/>
          <ac:spMkLst>
            <pc:docMk/>
            <pc:sldMk cId="1090095229" sldId="5534"/>
            <ac:spMk id="2" creationId="{6C856D4D-D1FC-4F94-B500-B3750EACC467}"/>
          </ac:spMkLst>
        </pc:spChg>
      </pc:sldChg>
      <pc:sldChg chg="modSp mod modClrScheme chgLayout">
        <pc:chgData name="Timothy Mazzotta" userId="32cdfb0a-f1e9-4dcc-9361-9c9032f79aa6" providerId="ADAL" clId="{6AF61DC8-5E05-4FE1-A07C-02FA3C0DCBF9}" dt="2021-10-18T19:07:48.928" v="981" actId="6549"/>
        <pc:sldMkLst>
          <pc:docMk/>
          <pc:sldMk cId="550092745" sldId="5535"/>
        </pc:sldMkLst>
        <pc:spChg chg="mod ord">
          <ac:chgData name="Timothy Mazzotta" userId="32cdfb0a-f1e9-4dcc-9361-9c9032f79aa6" providerId="ADAL" clId="{6AF61DC8-5E05-4FE1-A07C-02FA3C0DCBF9}" dt="2021-10-18T18:50:37.631" v="889" actId="700"/>
          <ac:spMkLst>
            <pc:docMk/>
            <pc:sldMk cId="550092745" sldId="5535"/>
            <ac:spMk id="2" creationId="{613263AA-BE0E-4EDA-9AEF-B91FC89EED55}"/>
          </ac:spMkLst>
        </pc:spChg>
        <pc:spChg chg="mod ord">
          <ac:chgData name="Timothy Mazzotta" userId="32cdfb0a-f1e9-4dcc-9361-9c9032f79aa6" providerId="ADAL" clId="{6AF61DC8-5E05-4FE1-A07C-02FA3C0DCBF9}" dt="2021-10-18T19:07:48.928" v="981" actId="6549"/>
          <ac:spMkLst>
            <pc:docMk/>
            <pc:sldMk cId="550092745" sldId="5535"/>
            <ac:spMk id="3" creationId="{85182A86-9E47-49F2-A59F-0A3791544C2F}"/>
          </ac:spMkLst>
        </pc:spChg>
      </pc:sldChg>
      <pc:sldChg chg="del">
        <pc:chgData name="Timothy Mazzotta" userId="32cdfb0a-f1e9-4dcc-9361-9c9032f79aa6" providerId="ADAL" clId="{6AF61DC8-5E05-4FE1-A07C-02FA3C0DCBF9}" dt="2021-10-18T18:24:11.455" v="483" actId="47"/>
        <pc:sldMkLst>
          <pc:docMk/>
          <pc:sldMk cId="1791308921" sldId="5536"/>
        </pc:sldMkLst>
      </pc:sldChg>
      <pc:sldChg chg="del">
        <pc:chgData name="Timothy Mazzotta" userId="32cdfb0a-f1e9-4dcc-9361-9c9032f79aa6" providerId="ADAL" clId="{6AF61DC8-5E05-4FE1-A07C-02FA3C0DCBF9}" dt="2021-10-18T18:12:09.760" v="464" actId="47"/>
        <pc:sldMkLst>
          <pc:docMk/>
          <pc:sldMk cId="1021191204" sldId="5537"/>
        </pc:sldMkLst>
      </pc:sldChg>
      <pc:sldChg chg="delSp modSp mod ord modClrScheme chgLayout">
        <pc:chgData name="Timothy Mazzotta" userId="32cdfb0a-f1e9-4dcc-9361-9c9032f79aa6" providerId="ADAL" clId="{6AF61DC8-5E05-4FE1-A07C-02FA3C0DCBF9}" dt="2021-10-18T17:55:46.653" v="255" actId="6549"/>
        <pc:sldMkLst>
          <pc:docMk/>
          <pc:sldMk cId="26943841" sldId="5538"/>
        </pc:sldMkLst>
        <pc:spChg chg="mod ord">
          <ac:chgData name="Timothy Mazzotta" userId="32cdfb0a-f1e9-4dcc-9361-9c9032f79aa6" providerId="ADAL" clId="{6AF61DC8-5E05-4FE1-A07C-02FA3C0DCBF9}" dt="2021-10-18T12:26:06.277" v="87" actId="700"/>
          <ac:spMkLst>
            <pc:docMk/>
            <pc:sldMk cId="26943841" sldId="5538"/>
            <ac:spMk id="2" creationId="{0F902235-65DE-4DB3-A3B4-BF90C7E8ABA0}"/>
          </ac:spMkLst>
        </pc:spChg>
        <pc:spChg chg="mod ord">
          <ac:chgData name="Timothy Mazzotta" userId="32cdfb0a-f1e9-4dcc-9361-9c9032f79aa6" providerId="ADAL" clId="{6AF61DC8-5E05-4FE1-A07C-02FA3C0DCBF9}" dt="2021-10-18T17:55:46.653" v="255" actId="6549"/>
          <ac:spMkLst>
            <pc:docMk/>
            <pc:sldMk cId="26943841" sldId="5538"/>
            <ac:spMk id="3" creationId="{A06020A3-D824-4A51-B6CA-D5E51EB9BDF0}"/>
          </ac:spMkLst>
        </pc:spChg>
        <pc:spChg chg="del">
          <ac:chgData name="Timothy Mazzotta" userId="32cdfb0a-f1e9-4dcc-9361-9c9032f79aa6" providerId="ADAL" clId="{6AF61DC8-5E05-4FE1-A07C-02FA3C0DCBF9}" dt="2021-10-18T17:55:36.559" v="254" actId="478"/>
          <ac:spMkLst>
            <pc:docMk/>
            <pc:sldMk cId="26943841" sldId="5538"/>
            <ac:spMk id="5" creationId="{6077D260-7241-400F-9877-CDC281A1BD6B}"/>
          </ac:spMkLst>
        </pc:spChg>
        <pc:picChg chg="del">
          <ac:chgData name="Timothy Mazzotta" userId="32cdfb0a-f1e9-4dcc-9361-9c9032f79aa6" providerId="ADAL" clId="{6AF61DC8-5E05-4FE1-A07C-02FA3C0DCBF9}" dt="2021-10-18T17:55:35.637" v="253" actId="478"/>
          <ac:picMkLst>
            <pc:docMk/>
            <pc:sldMk cId="26943841" sldId="5538"/>
            <ac:picMk id="4" creationId="{7C06849E-D64F-4916-B304-8E7DE73A1A62}"/>
          </ac:picMkLst>
        </pc:picChg>
        <pc:picChg chg="del">
          <ac:chgData name="Timothy Mazzotta" userId="32cdfb0a-f1e9-4dcc-9361-9c9032f79aa6" providerId="ADAL" clId="{6AF61DC8-5E05-4FE1-A07C-02FA3C0DCBF9}" dt="2021-10-18T17:55:34.743" v="252" actId="478"/>
          <ac:picMkLst>
            <pc:docMk/>
            <pc:sldMk cId="26943841" sldId="5538"/>
            <ac:picMk id="6" creationId="{9356B55F-EE77-49D1-82AB-4333D38A3E7D}"/>
          </ac:picMkLst>
        </pc:picChg>
      </pc:sldChg>
      <pc:sldChg chg="del">
        <pc:chgData name="Timothy Mazzotta" userId="32cdfb0a-f1e9-4dcc-9361-9c9032f79aa6" providerId="ADAL" clId="{6AF61DC8-5E05-4FE1-A07C-02FA3C0DCBF9}" dt="2021-10-18T18:16:54.965" v="465" actId="2696"/>
        <pc:sldMkLst>
          <pc:docMk/>
          <pc:sldMk cId="974869339" sldId="5539"/>
        </pc:sldMkLst>
      </pc:sldChg>
      <pc:sldChg chg="modSp mod">
        <pc:chgData name="Timothy Mazzotta" userId="32cdfb0a-f1e9-4dcc-9361-9c9032f79aa6" providerId="ADAL" clId="{6AF61DC8-5E05-4FE1-A07C-02FA3C0DCBF9}" dt="2021-10-18T20:16:23.111" v="1030" actId="6549"/>
        <pc:sldMkLst>
          <pc:docMk/>
          <pc:sldMk cId="2379295645" sldId="5540"/>
        </pc:sldMkLst>
        <pc:spChg chg="mod">
          <ac:chgData name="Timothy Mazzotta" userId="32cdfb0a-f1e9-4dcc-9361-9c9032f79aa6" providerId="ADAL" clId="{6AF61DC8-5E05-4FE1-A07C-02FA3C0DCBF9}" dt="2021-10-18T20:16:23.111" v="1030" actId="6549"/>
          <ac:spMkLst>
            <pc:docMk/>
            <pc:sldMk cId="2379295645" sldId="5540"/>
            <ac:spMk id="3" creationId="{85182A86-9E47-49F2-A59F-0A3791544C2F}"/>
          </ac:spMkLst>
        </pc:spChg>
      </pc:sldChg>
      <pc:sldChg chg="addSp delSp modSp add mod">
        <pc:chgData name="Timothy Mazzotta" userId="32cdfb0a-f1e9-4dcc-9361-9c9032f79aa6" providerId="ADAL" clId="{6AF61DC8-5E05-4FE1-A07C-02FA3C0DCBF9}" dt="2021-10-18T18:10:40.629" v="462" actId="478"/>
        <pc:sldMkLst>
          <pc:docMk/>
          <pc:sldMk cId="3346912085" sldId="5541"/>
        </pc:sldMkLst>
        <pc:spChg chg="mod">
          <ac:chgData name="Timothy Mazzotta" userId="32cdfb0a-f1e9-4dcc-9361-9c9032f79aa6" providerId="ADAL" clId="{6AF61DC8-5E05-4FE1-A07C-02FA3C0DCBF9}" dt="2021-10-18T17:51:41.876" v="246" actId="20577"/>
          <ac:spMkLst>
            <pc:docMk/>
            <pc:sldMk cId="3346912085" sldId="5541"/>
            <ac:spMk id="11" creationId="{86288B4F-DD2D-4892-A40D-1DE9E791C33C}"/>
          </ac:spMkLst>
        </pc:spChg>
        <pc:spChg chg="add del mod">
          <ac:chgData name="Timothy Mazzotta" userId="32cdfb0a-f1e9-4dcc-9361-9c9032f79aa6" providerId="ADAL" clId="{6AF61DC8-5E05-4FE1-A07C-02FA3C0DCBF9}" dt="2021-10-18T18:10:40.629" v="462" actId="478"/>
          <ac:spMkLst>
            <pc:docMk/>
            <pc:sldMk cId="3346912085" sldId="5541"/>
            <ac:spMk id="12" creationId="{6E59DAC9-8342-4EDA-A25B-5B6511A76241}"/>
          </ac:spMkLst>
        </pc:spChg>
        <pc:picChg chg="del mod">
          <ac:chgData name="Timothy Mazzotta" userId="32cdfb0a-f1e9-4dcc-9361-9c9032f79aa6" providerId="ADAL" clId="{6AF61DC8-5E05-4FE1-A07C-02FA3C0DCBF9}" dt="2021-10-18T18:10:01.587" v="459" actId="478"/>
          <ac:picMkLst>
            <pc:docMk/>
            <pc:sldMk cId="3346912085" sldId="5541"/>
            <ac:picMk id="3" creationId="{FEC3B02C-DFC8-4F4D-9B29-252601E96220}"/>
          </ac:picMkLst>
        </pc:picChg>
        <pc:picChg chg="add del mod">
          <ac:chgData name="Timothy Mazzotta" userId="32cdfb0a-f1e9-4dcc-9361-9c9032f79aa6" providerId="ADAL" clId="{6AF61DC8-5E05-4FE1-A07C-02FA3C0DCBF9}" dt="2021-10-18T18:10:01.071" v="458" actId="478"/>
          <ac:picMkLst>
            <pc:docMk/>
            <pc:sldMk cId="3346912085" sldId="5541"/>
            <ac:picMk id="7" creationId="{620653E6-E50C-43FA-BFE9-1C4D57E0C893}"/>
          </ac:picMkLst>
        </pc:picChg>
        <pc:picChg chg="ord">
          <ac:chgData name="Timothy Mazzotta" userId="32cdfb0a-f1e9-4dcc-9361-9c9032f79aa6" providerId="ADAL" clId="{6AF61DC8-5E05-4FE1-A07C-02FA3C0DCBF9}" dt="2021-10-18T18:10:20.827" v="461" actId="166"/>
          <ac:picMkLst>
            <pc:docMk/>
            <pc:sldMk cId="3346912085" sldId="5541"/>
            <ac:picMk id="9" creationId="{B2A825D6-FD26-4AAC-B7A2-9ED0FF940056}"/>
          </ac:picMkLst>
        </pc:picChg>
        <pc:picChg chg="add mod ord">
          <ac:chgData name="Timothy Mazzotta" userId="32cdfb0a-f1e9-4dcc-9361-9c9032f79aa6" providerId="ADAL" clId="{6AF61DC8-5E05-4FE1-A07C-02FA3C0DCBF9}" dt="2021-10-18T18:10:14.695" v="460" actId="166"/>
          <ac:picMkLst>
            <pc:docMk/>
            <pc:sldMk cId="3346912085" sldId="5541"/>
            <ac:picMk id="13" creationId="{2B2C1501-FFB1-492C-B6E2-247FC3A5BE73}"/>
          </ac:picMkLst>
        </pc:picChg>
      </pc:sldChg>
      <pc:sldChg chg="addSp modSp add mod">
        <pc:chgData name="Timothy Mazzotta" userId="32cdfb0a-f1e9-4dcc-9361-9c9032f79aa6" providerId="ADAL" clId="{6AF61DC8-5E05-4FE1-A07C-02FA3C0DCBF9}" dt="2021-10-18T18:01:38.637" v="403" actId="14100"/>
        <pc:sldMkLst>
          <pc:docMk/>
          <pc:sldMk cId="3433019007" sldId="5542"/>
        </pc:sldMkLst>
        <pc:spChg chg="mod">
          <ac:chgData name="Timothy Mazzotta" userId="32cdfb0a-f1e9-4dcc-9361-9c9032f79aa6" providerId="ADAL" clId="{6AF61DC8-5E05-4FE1-A07C-02FA3C0DCBF9}" dt="2021-10-18T18:00:16.204" v="365" actId="164"/>
          <ac:spMkLst>
            <pc:docMk/>
            <pc:sldMk cId="3433019007" sldId="5542"/>
            <ac:spMk id="4" creationId="{629A9833-4837-4F5B-B2CC-41462FBAD9BA}"/>
          </ac:spMkLst>
        </pc:spChg>
        <pc:spChg chg="add mod">
          <ac:chgData name="Timothy Mazzotta" userId="32cdfb0a-f1e9-4dcc-9361-9c9032f79aa6" providerId="ADAL" clId="{6AF61DC8-5E05-4FE1-A07C-02FA3C0DCBF9}" dt="2021-10-18T18:01:38.637" v="403" actId="14100"/>
          <ac:spMkLst>
            <pc:docMk/>
            <pc:sldMk cId="3433019007" sldId="5542"/>
            <ac:spMk id="7" creationId="{83FE6FD1-94C8-4E94-8A87-0C9AD27C33CE}"/>
          </ac:spMkLst>
        </pc:spChg>
        <pc:spChg chg="mod">
          <ac:chgData name="Timothy Mazzotta" userId="32cdfb0a-f1e9-4dcc-9361-9c9032f79aa6" providerId="ADAL" clId="{6AF61DC8-5E05-4FE1-A07C-02FA3C0DCBF9}" dt="2021-10-18T18:00:16.204" v="365" actId="164"/>
          <ac:spMkLst>
            <pc:docMk/>
            <pc:sldMk cId="3433019007" sldId="5542"/>
            <ac:spMk id="16" creationId="{A1CEA5C6-3499-499E-9C58-C224104DFCE2}"/>
          </ac:spMkLst>
        </pc:spChg>
        <pc:spChg chg="mod">
          <ac:chgData name="Timothy Mazzotta" userId="32cdfb0a-f1e9-4dcc-9361-9c9032f79aa6" providerId="ADAL" clId="{6AF61DC8-5E05-4FE1-A07C-02FA3C0DCBF9}" dt="2021-10-18T17:59:26.470" v="316" actId="6549"/>
          <ac:spMkLst>
            <pc:docMk/>
            <pc:sldMk cId="3433019007" sldId="5542"/>
            <ac:spMk id="114690" creationId="{00000000-0000-0000-0000-000000000000}"/>
          </ac:spMkLst>
        </pc:spChg>
        <pc:grpChg chg="add mod">
          <ac:chgData name="Timothy Mazzotta" userId="32cdfb0a-f1e9-4dcc-9361-9c9032f79aa6" providerId="ADAL" clId="{6AF61DC8-5E05-4FE1-A07C-02FA3C0DCBF9}" dt="2021-10-18T18:00:25.739" v="383" actId="1076"/>
          <ac:grpSpMkLst>
            <pc:docMk/>
            <pc:sldMk cId="3433019007" sldId="5542"/>
            <ac:grpSpMk id="3" creationId="{B7C1BC33-32A1-4FDC-95B2-97BD62920351}"/>
          </ac:grpSpMkLst>
        </pc:grpChg>
        <pc:picChg chg="mod">
          <ac:chgData name="Timothy Mazzotta" userId="32cdfb0a-f1e9-4dcc-9361-9c9032f79aa6" providerId="ADAL" clId="{6AF61DC8-5E05-4FE1-A07C-02FA3C0DCBF9}" dt="2021-10-18T18:00:16.204" v="365" actId="164"/>
          <ac:picMkLst>
            <pc:docMk/>
            <pc:sldMk cId="3433019007" sldId="5542"/>
            <ac:picMk id="12" creationId="{497F4B6C-28FD-481D-B73F-952601077473}"/>
          </ac:picMkLst>
        </pc:picChg>
      </pc:sldChg>
      <pc:sldChg chg="add del">
        <pc:chgData name="Timothy Mazzotta" userId="32cdfb0a-f1e9-4dcc-9361-9c9032f79aa6" providerId="ADAL" clId="{6AF61DC8-5E05-4FE1-A07C-02FA3C0DCBF9}" dt="2021-10-18T17:57:45.824" v="256" actId="47"/>
        <pc:sldMkLst>
          <pc:docMk/>
          <pc:sldMk cId="3602908599" sldId="5542"/>
        </pc:sldMkLst>
      </pc:sldChg>
      <pc:sldChg chg="add">
        <pc:chgData name="Timothy Mazzotta" userId="32cdfb0a-f1e9-4dcc-9361-9c9032f79aa6" providerId="ADAL" clId="{6AF61DC8-5E05-4FE1-A07C-02FA3C0DCBF9}" dt="2021-10-18T17:57:51.886" v="257"/>
        <pc:sldMkLst>
          <pc:docMk/>
          <pc:sldMk cId="290834508" sldId="5543"/>
        </pc:sldMkLst>
      </pc:sldChg>
      <pc:sldChg chg="addSp delSp modSp add mod modClrScheme chgLayout">
        <pc:chgData name="Timothy Mazzotta" userId="32cdfb0a-f1e9-4dcc-9361-9c9032f79aa6" providerId="ADAL" clId="{6AF61DC8-5E05-4FE1-A07C-02FA3C0DCBF9}" dt="2021-10-18T18:51:22.457" v="891" actId="700"/>
        <pc:sldMkLst>
          <pc:docMk/>
          <pc:sldMk cId="245292940" sldId="5544"/>
        </pc:sldMkLst>
        <pc:spChg chg="mod ord">
          <ac:chgData name="Timothy Mazzotta" userId="32cdfb0a-f1e9-4dcc-9361-9c9032f79aa6" providerId="ADAL" clId="{6AF61DC8-5E05-4FE1-A07C-02FA3C0DCBF9}" dt="2021-10-18T18:51:22.457" v="891" actId="700"/>
          <ac:spMkLst>
            <pc:docMk/>
            <pc:sldMk cId="245292940" sldId="5544"/>
            <ac:spMk id="2" creationId="{6C856D4D-D1FC-4F94-B500-B3750EACC467}"/>
          </ac:spMkLst>
        </pc:spChg>
        <pc:spChg chg="del">
          <ac:chgData name="Timothy Mazzotta" userId="32cdfb0a-f1e9-4dcc-9361-9c9032f79aa6" providerId="ADAL" clId="{6AF61DC8-5E05-4FE1-A07C-02FA3C0DCBF9}" dt="2021-10-18T18:29:48.794" v="496" actId="478"/>
          <ac:spMkLst>
            <pc:docMk/>
            <pc:sldMk cId="245292940" sldId="5544"/>
            <ac:spMk id="7" creationId="{5B69F74C-0AEF-4FFE-A4B5-56B93457167F}"/>
          </ac:spMkLst>
        </pc:spChg>
        <pc:spChg chg="del">
          <ac:chgData name="Timothy Mazzotta" userId="32cdfb0a-f1e9-4dcc-9361-9c9032f79aa6" providerId="ADAL" clId="{6AF61DC8-5E05-4FE1-A07C-02FA3C0DCBF9}" dt="2021-10-18T18:29:49.468" v="497" actId="478"/>
          <ac:spMkLst>
            <pc:docMk/>
            <pc:sldMk cId="245292940" sldId="5544"/>
            <ac:spMk id="8" creationId="{1503A0C6-37DB-48D6-B106-D11970DA4AAC}"/>
          </ac:spMkLst>
        </pc:spChg>
        <pc:spChg chg="add mod">
          <ac:chgData name="Timothy Mazzotta" userId="32cdfb0a-f1e9-4dcc-9361-9c9032f79aa6" providerId="ADAL" clId="{6AF61DC8-5E05-4FE1-A07C-02FA3C0DCBF9}" dt="2021-10-18T18:49:02.356" v="886" actId="1038"/>
          <ac:spMkLst>
            <pc:docMk/>
            <pc:sldMk cId="245292940" sldId="5544"/>
            <ac:spMk id="11" creationId="{0260162A-E9B0-485F-AEE5-C64F59312896}"/>
          </ac:spMkLst>
        </pc:spChg>
        <pc:spChg chg="del">
          <ac:chgData name="Timothy Mazzotta" userId="32cdfb0a-f1e9-4dcc-9361-9c9032f79aa6" providerId="ADAL" clId="{6AF61DC8-5E05-4FE1-A07C-02FA3C0DCBF9}" dt="2021-10-18T18:30:23.818" v="501" actId="478"/>
          <ac:spMkLst>
            <pc:docMk/>
            <pc:sldMk cId="245292940" sldId="5544"/>
            <ac:spMk id="12" creationId="{AE9FDAE4-E855-4C6A-82AA-89F9C8D18CB0}"/>
          </ac:spMkLst>
        </pc:spChg>
        <pc:spChg chg="del">
          <ac:chgData name="Timothy Mazzotta" userId="32cdfb0a-f1e9-4dcc-9361-9c9032f79aa6" providerId="ADAL" clId="{6AF61DC8-5E05-4FE1-A07C-02FA3C0DCBF9}" dt="2021-10-18T18:30:21.567" v="500" actId="478"/>
          <ac:spMkLst>
            <pc:docMk/>
            <pc:sldMk cId="245292940" sldId="5544"/>
            <ac:spMk id="13" creationId="{069070DE-4C66-488F-BD01-850554DD04C1}"/>
          </ac:spMkLst>
        </pc:spChg>
        <pc:spChg chg="del mod">
          <ac:chgData name="Timothy Mazzotta" userId="32cdfb0a-f1e9-4dcc-9361-9c9032f79aa6" providerId="ADAL" clId="{6AF61DC8-5E05-4FE1-A07C-02FA3C0DCBF9}" dt="2021-10-18T18:30:36.886" v="504" actId="478"/>
          <ac:spMkLst>
            <pc:docMk/>
            <pc:sldMk cId="245292940" sldId="5544"/>
            <ac:spMk id="14" creationId="{71176EFE-D3F7-4280-A0A5-3853F16E8EC8}"/>
          </ac:spMkLst>
        </pc:spChg>
        <pc:picChg chg="add mod">
          <ac:chgData name="Timothy Mazzotta" userId="32cdfb0a-f1e9-4dcc-9361-9c9032f79aa6" providerId="ADAL" clId="{6AF61DC8-5E05-4FE1-A07C-02FA3C0DCBF9}" dt="2021-10-18T18:48:44.202" v="878" actId="1076"/>
          <ac:picMkLst>
            <pc:docMk/>
            <pc:sldMk cId="245292940" sldId="5544"/>
            <ac:picMk id="4" creationId="{84DDCA25-7834-43D7-95CD-A8423B3D7F40}"/>
          </ac:picMkLst>
        </pc:picChg>
        <pc:picChg chg="add del mod modCrop">
          <ac:chgData name="Timothy Mazzotta" userId="32cdfb0a-f1e9-4dcc-9361-9c9032f79aa6" providerId="ADAL" clId="{6AF61DC8-5E05-4FE1-A07C-02FA3C0DCBF9}" dt="2021-10-18T18:48:21.890" v="874" actId="478"/>
          <ac:picMkLst>
            <pc:docMk/>
            <pc:sldMk cId="245292940" sldId="5544"/>
            <ac:picMk id="6" creationId="{01D513AE-4F8D-42B3-B4CD-F0338C981846}"/>
          </ac:picMkLst>
        </pc:picChg>
        <pc:picChg chg="add mod ord">
          <ac:chgData name="Timothy Mazzotta" userId="32cdfb0a-f1e9-4dcc-9361-9c9032f79aa6" providerId="ADAL" clId="{6AF61DC8-5E05-4FE1-A07C-02FA3C0DCBF9}" dt="2021-10-18T18:48:34.450" v="877" actId="1076"/>
          <ac:picMkLst>
            <pc:docMk/>
            <pc:sldMk cId="245292940" sldId="5544"/>
            <ac:picMk id="10" creationId="{C0576679-F214-4FDB-97D3-AC7B04FA5BC7}"/>
          </ac:picMkLst>
        </pc:picChg>
        <pc:picChg chg="del">
          <ac:chgData name="Timothy Mazzotta" userId="32cdfb0a-f1e9-4dcc-9361-9c9032f79aa6" providerId="ADAL" clId="{6AF61DC8-5E05-4FE1-A07C-02FA3C0DCBF9}" dt="2021-10-18T18:29:35.533" v="492" actId="478"/>
          <ac:picMkLst>
            <pc:docMk/>
            <pc:sldMk cId="245292940" sldId="5544"/>
            <ac:picMk id="16" creationId="{833DB4BC-7492-409E-87EB-C9D9AF75E3A3}"/>
          </ac:picMkLst>
        </pc:picChg>
      </pc:sldChg>
      <pc:sldChg chg="addSp delSp modSp add mod">
        <pc:chgData name="Timothy Mazzotta" userId="32cdfb0a-f1e9-4dcc-9361-9c9032f79aa6" providerId="ADAL" clId="{6AF61DC8-5E05-4FE1-A07C-02FA3C0DCBF9}" dt="2021-10-18T19:06:54" v="966" actId="108"/>
        <pc:sldMkLst>
          <pc:docMk/>
          <pc:sldMk cId="2044837372" sldId="5545"/>
        </pc:sldMkLst>
        <pc:spChg chg="mod">
          <ac:chgData name="Timothy Mazzotta" userId="32cdfb0a-f1e9-4dcc-9361-9c9032f79aa6" providerId="ADAL" clId="{6AF61DC8-5E05-4FE1-A07C-02FA3C0DCBF9}" dt="2021-10-18T19:06:28.465" v="962" actId="20577"/>
          <ac:spMkLst>
            <pc:docMk/>
            <pc:sldMk cId="2044837372" sldId="5545"/>
            <ac:spMk id="2" creationId="{6C856D4D-D1FC-4F94-B500-B3750EACC467}"/>
          </ac:spMkLst>
        </pc:spChg>
        <pc:spChg chg="del">
          <ac:chgData name="Timothy Mazzotta" userId="32cdfb0a-f1e9-4dcc-9361-9c9032f79aa6" providerId="ADAL" clId="{6AF61DC8-5E05-4FE1-A07C-02FA3C0DCBF9}" dt="2021-10-18T19:06:38.095" v="964" actId="478"/>
          <ac:spMkLst>
            <pc:docMk/>
            <pc:sldMk cId="2044837372" sldId="5545"/>
            <ac:spMk id="9" creationId="{27AC019C-73AE-42AB-A94F-0F3128DDFFF0}"/>
          </ac:spMkLst>
        </pc:spChg>
        <pc:picChg chg="del">
          <ac:chgData name="Timothy Mazzotta" userId="32cdfb0a-f1e9-4dcc-9361-9c9032f79aa6" providerId="ADAL" clId="{6AF61DC8-5E05-4FE1-A07C-02FA3C0DCBF9}" dt="2021-10-18T19:03:33.855" v="902" actId="478"/>
          <ac:picMkLst>
            <pc:docMk/>
            <pc:sldMk cId="2044837372" sldId="5545"/>
            <ac:picMk id="4" creationId="{5C501C41-00D2-4374-9F8D-D909FC857532}"/>
          </ac:picMkLst>
        </pc:picChg>
        <pc:picChg chg="add del mod">
          <ac:chgData name="Timothy Mazzotta" userId="32cdfb0a-f1e9-4dcc-9361-9c9032f79aa6" providerId="ADAL" clId="{6AF61DC8-5E05-4FE1-A07C-02FA3C0DCBF9}" dt="2021-10-18T19:04:36.657" v="905" actId="478"/>
          <ac:picMkLst>
            <pc:docMk/>
            <pc:sldMk cId="2044837372" sldId="5545"/>
            <ac:picMk id="5" creationId="{993771DB-1537-4603-9F77-92E597E2D20F}"/>
          </ac:picMkLst>
        </pc:picChg>
        <pc:picChg chg="add mod">
          <ac:chgData name="Timothy Mazzotta" userId="32cdfb0a-f1e9-4dcc-9361-9c9032f79aa6" providerId="ADAL" clId="{6AF61DC8-5E05-4FE1-A07C-02FA3C0DCBF9}" dt="2021-10-18T19:06:54" v="966" actId="108"/>
          <ac:picMkLst>
            <pc:docMk/>
            <pc:sldMk cId="2044837372" sldId="5545"/>
            <ac:picMk id="7" creationId="{5601A7CC-6F1A-4A79-9FB8-23B056192117}"/>
          </ac:picMkLst>
        </pc:picChg>
      </pc:sldChg>
      <pc:sldMasterChg chg="modSp mod">
        <pc:chgData name="Timothy Mazzotta" userId="32cdfb0a-f1e9-4dcc-9361-9c9032f79aa6" providerId="ADAL" clId="{6AF61DC8-5E05-4FE1-A07C-02FA3C0DCBF9}" dt="2021-10-18T17:41:01.477" v="230" actId="20577"/>
        <pc:sldMasterMkLst>
          <pc:docMk/>
          <pc:sldMasterMk cId="2636977341" sldId="2147483648"/>
        </pc:sldMasterMkLst>
        <pc:spChg chg="mod">
          <ac:chgData name="Timothy Mazzotta" userId="32cdfb0a-f1e9-4dcc-9361-9c9032f79aa6" providerId="ADAL" clId="{6AF61DC8-5E05-4FE1-A07C-02FA3C0DCBF9}" dt="2021-10-18T17:41:01.477" v="230" actId="20577"/>
          <ac:spMkLst>
            <pc:docMk/>
            <pc:sldMasterMk cId="2636977341" sldId="2147483648"/>
            <ac:spMk id="10" creationId="{00B4D258-65B1-4091-875A-AE678469BF41}"/>
          </ac:spMkLst>
        </pc:spChg>
      </pc:sldMaster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>
            <a:extLst>
              <a:ext uri="{FF2B5EF4-FFF2-40B4-BE49-F238E27FC236}">
                <a16:creationId xmlns:a16="http://schemas.microsoft.com/office/drawing/2014/main" id="{9975238A-E77C-4161-8153-559CAAFF08D2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1" y="1"/>
            <a:ext cx="2945406" cy="497333"/>
          </a:xfrm>
          <a:prstGeom prst="rect">
            <a:avLst/>
          </a:prstGeom>
        </p:spPr>
        <p:txBody>
          <a:bodyPr vert="horz" lIns="88194" tIns="44097" rIns="88194" bIns="44097" rtlCol="0"/>
          <a:lstStyle>
            <a:lvl1pPr algn="l">
              <a:defRPr sz="1200"/>
            </a:lvl1pPr>
          </a:lstStyle>
          <a:p>
            <a:endParaRPr lang="en-US" sz="100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AC63C429-307D-46CA-9A12-06D8698F75D5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50750" y="1"/>
            <a:ext cx="2945405" cy="497333"/>
          </a:xfrm>
          <a:prstGeom prst="rect">
            <a:avLst/>
          </a:prstGeom>
        </p:spPr>
        <p:txBody>
          <a:bodyPr vert="horz" lIns="88194" tIns="44097" rIns="88194" bIns="44097" rtlCol="0"/>
          <a:lstStyle>
            <a:lvl1pPr algn="r">
              <a:defRPr sz="1200"/>
            </a:lvl1pPr>
          </a:lstStyle>
          <a:p>
            <a:fld id="{ADE2EF3F-42B8-4B9D-A37E-11A4D443AA0D}" type="datetimeFigureOut">
              <a:rPr lang="en-US" sz="1000"/>
              <a:t>3/23/2022</a:t>
            </a:fld>
            <a:endParaRPr lang="en-US" sz="100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D965EB52-C1D0-4343-AE68-5103D2F41906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1" y="9429305"/>
            <a:ext cx="2945406" cy="497333"/>
          </a:xfrm>
          <a:prstGeom prst="rect">
            <a:avLst/>
          </a:prstGeom>
        </p:spPr>
        <p:txBody>
          <a:bodyPr vert="horz" lIns="88194" tIns="44097" rIns="88194" bIns="44097" rtlCol="0" anchor="b"/>
          <a:lstStyle>
            <a:lvl1pPr algn="l">
              <a:defRPr sz="1200"/>
            </a:lvl1pPr>
          </a:lstStyle>
          <a:p>
            <a:endParaRPr lang="en-US" sz="100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496198C1-5F95-4924-98B6-9E9A0B40AE6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50750" y="9429305"/>
            <a:ext cx="2945405" cy="497333"/>
          </a:xfrm>
          <a:prstGeom prst="rect">
            <a:avLst/>
          </a:prstGeom>
        </p:spPr>
        <p:txBody>
          <a:bodyPr vert="horz" lIns="88194" tIns="44097" rIns="88194" bIns="44097" rtlCol="0" anchor="b"/>
          <a:lstStyle>
            <a:lvl1pPr algn="r">
              <a:defRPr sz="1200"/>
            </a:lvl1pPr>
          </a:lstStyle>
          <a:p>
            <a:r>
              <a:rPr lang="en-US" sz="1000" b="1"/>
              <a:t>Handout</a:t>
            </a:r>
            <a:r>
              <a:rPr lang="en-US" sz="1000"/>
              <a:t> </a:t>
            </a:r>
            <a:fld id="{FE9D864B-9634-41E7-BDAB-3BBEEED548E4}" type="slidenum">
              <a:rPr lang="en-US" sz="1000"/>
              <a:t>‹Nr.›</a:t>
            </a:fld>
            <a:endParaRPr lang="en-US" sz="1000"/>
          </a:p>
        </p:txBody>
      </p:sp>
    </p:spTree>
    <p:extLst>
      <p:ext uri="{BB962C8B-B14F-4D97-AF65-F5344CB8AC3E}">
        <p14:creationId xmlns:p14="http://schemas.microsoft.com/office/powerpoint/2010/main" val="275360003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5558" tIns="47779" rIns="95558" bIns="47779" rtlCol="0"/>
          <a:lstStyle>
            <a:lvl1pPr algn="l">
              <a:defRPr sz="1000"/>
            </a:lvl1pPr>
          </a:lstStyle>
          <a:p>
            <a:endParaRPr lang="en-US" noProof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5558" tIns="47779" rIns="95558" bIns="47779" rtlCol="0"/>
          <a:lstStyle>
            <a:lvl1pPr algn="r">
              <a:defRPr sz="1000"/>
            </a:lvl1pPr>
          </a:lstStyle>
          <a:p>
            <a:fld id="{B121E240-E9EA-40DE-8EFF-BE00DCAC0262}" type="datetimeFigureOut">
              <a:rPr lang="en-US" noProof="0" smtClean="0"/>
              <a:pPr/>
              <a:t>3/23/2022</a:t>
            </a:fld>
            <a:endParaRPr lang="en-US" noProof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4713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5558" tIns="47779" rIns="95558" bIns="47779" rtlCol="0" anchor="ctr"/>
          <a:lstStyle/>
          <a:p>
            <a:endParaRPr lang="en-US" noProof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458718" y="4777194"/>
            <a:ext cx="5880239" cy="3908614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US" noProof="0"/>
              <a:t>Formatvorlagen des Textmasters bearbeiten</a:t>
            </a:r>
          </a:p>
          <a:p>
            <a:pPr lvl="1"/>
            <a:r>
              <a:rPr lang="en-US" noProof="0"/>
              <a:t>Zweite Ebene</a:t>
            </a:r>
          </a:p>
          <a:p>
            <a:pPr lvl="2"/>
            <a:r>
              <a:rPr lang="en-US" noProof="0"/>
              <a:t>Dritte Ebene</a:t>
            </a:r>
          </a:p>
          <a:p>
            <a:pPr lvl="3"/>
            <a:r>
              <a:rPr lang="en-US" noProof="0"/>
              <a:t>Vierte Ebene</a:t>
            </a:r>
          </a:p>
          <a:p>
            <a:pPr lvl="4"/>
            <a:r>
              <a:rPr lang="en-US" noProof="0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428585"/>
            <a:ext cx="2945659" cy="498055"/>
          </a:xfrm>
          <a:prstGeom prst="rect">
            <a:avLst/>
          </a:prstGeom>
        </p:spPr>
        <p:txBody>
          <a:bodyPr vert="horz" lIns="95558" tIns="47779" rIns="95558" bIns="47779" rtlCol="0" anchor="b"/>
          <a:lstStyle>
            <a:lvl1pPr algn="l">
              <a:defRPr sz="1000"/>
            </a:lvl1pPr>
          </a:lstStyle>
          <a:p>
            <a:endParaRPr lang="en-US" noProof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50443" y="9428585"/>
            <a:ext cx="2945659" cy="498055"/>
          </a:xfrm>
          <a:prstGeom prst="rect">
            <a:avLst/>
          </a:prstGeom>
        </p:spPr>
        <p:txBody>
          <a:bodyPr vert="horz" lIns="95558" tIns="47779" rIns="95558" bIns="47779" rtlCol="0" anchor="b"/>
          <a:lstStyle>
            <a:lvl1pPr algn="r">
              <a:defRPr sz="1000"/>
            </a:lvl1pPr>
          </a:lstStyle>
          <a:p>
            <a:r>
              <a:rPr lang="en-US" b="1" noProof="0"/>
              <a:t>Notice </a:t>
            </a:r>
            <a:fld id="{84EE17C3-51E0-4A9C-B3A8-E6548E6A9E95}" type="slidenum">
              <a:rPr lang="en-US" noProof="0" smtClean="0"/>
              <a:pPr/>
              <a:t>‹Nr.›</a:t>
            </a:fld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83147627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lnSpc>
        <a:spcPct val="110000"/>
      </a:lnSpc>
      <a:spcAft>
        <a:spcPts val="30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180000" indent="-180000" algn="l" defTabSz="914400" rtl="0" eaLnBrk="1" latinLnBrk="0" hangingPunct="1">
      <a:lnSpc>
        <a:spcPct val="110000"/>
      </a:lnSpc>
      <a:spcAft>
        <a:spcPts val="300"/>
      </a:spcAft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360000" indent="-180000" algn="l" defTabSz="914400" rtl="0" eaLnBrk="1" latinLnBrk="0" hangingPunct="1">
      <a:lnSpc>
        <a:spcPct val="110000"/>
      </a:lnSpc>
      <a:spcAft>
        <a:spcPts val="300"/>
      </a:spcAft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540000" indent="-180000" algn="l" defTabSz="914400" rtl="0" eaLnBrk="1" latinLnBrk="0" hangingPunct="1">
      <a:lnSpc>
        <a:spcPct val="110000"/>
      </a:lnSpc>
      <a:spcAft>
        <a:spcPts val="300"/>
      </a:spcAft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720000" indent="-180000" algn="l" defTabSz="914400" rtl="0" eaLnBrk="1" latinLnBrk="0" hangingPunct="1">
      <a:lnSpc>
        <a:spcPct val="110000"/>
      </a:lnSpc>
      <a:spcAft>
        <a:spcPts val="300"/>
      </a:spcAft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en-US" b="1" noProof="0"/>
              <a:t>Notice </a:t>
            </a:r>
            <a:fld id="{84EE17C3-51E0-4A9C-B3A8-E6548E6A9E95}" type="slidenum">
              <a:rPr lang="en-US" noProof="0" smtClean="0"/>
              <a:pPr/>
              <a:t>2</a:t>
            </a:fld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268751021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de-DE">
                <a:latin typeface="Arial" pitchFamily="34" charset="0"/>
              </a:rPr>
              <a:t>Notes </a:t>
            </a:r>
            <a:fld id="{AD141568-5488-4AC9-B82D-9F5CE1225E2A}" type="slidenum">
              <a:rPr lang="de-DE" smtClean="0">
                <a:latin typeface="Arial" pitchFamily="34" charset="0"/>
              </a:rPr>
              <a:pPr/>
              <a:t>6</a:t>
            </a:fld>
            <a:endParaRPr lang="de-DE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3180814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de-DE">
                <a:latin typeface="Arial" pitchFamily="34" charset="0"/>
              </a:rPr>
              <a:t>Notes </a:t>
            </a:r>
            <a:fld id="{AD141568-5488-4AC9-B82D-9F5CE1225E2A}" type="slidenum">
              <a:rPr lang="de-DE" smtClean="0">
                <a:latin typeface="Arial" pitchFamily="34" charset="0"/>
              </a:rPr>
              <a:pPr/>
              <a:t>10</a:t>
            </a:fld>
            <a:endParaRPr lang="de-DE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7692796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de-DE">
                <a:latin typeface="Arial" pitchFamily="34" charset="0"/>
              </a:rPr>
              <a:t>Notes </a:t>
            </a:r>
            <a:fld id="{AD141568-5488-4AC9-B82D-9F5CE1225E2A}" type="slidenum">
              <a:rPr lang="de-DE" smtClean="0">
                <a:latin typeface="Arial" pitchFamily="34" charset="0"/>
              </a:rPr>
              <a:pPr/>
              <a:t>11</a:t>
            </a:fld>
            <a:endParaRPr lang="de-DE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7420295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125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73025" y="749300"/>
            <a:ext cx="6648450" cy="3740150"/>
          </a:xfrm>
          <a:noFill/>
        </p:spPr>
      </p:sp>
      <p:sp>
        <p:nvSpPr>
          <p:cNvPr id="181251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3378997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125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22238" y="773113"/>
            <a:ext cx="6856412" cy="3856037"/>
          </a:xfrm>
          <a:noFill/>
        </p:spPr>
      </p:sp>
      <p:sp>
        <p:nvSpPr>
          <p:cNvPr id="181251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0846657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125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22238" y="773113"/>
            <a:ext cx="6856412" cy="3856037"/>
          </a:xfrm>
          <a:noFill/>
        </p:spPr>
      </p:sp>
      <p:sp>
        <p:nvSpPr>
          <p:cNvPr id="181251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3378997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125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22238" y="773113"/>
            <a:ext cx="6856412" cy="3856037"/>
          </a:xfrm>
          <a:noFill/>
        </p:spPr>
      </p:sp>
      <p:sp>
        <p:nvSpPr>
          <p:cNvPr id="181251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3378997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emf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emf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emf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emf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hyperlink" Target="https://www.siemens-energy.com/" TargetMode="External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1.emf"/><Relationship Id="rId4" Type="http://schemas.openxmlformats.org/officeDocument/2006/relationships/image" Target="../media/image7.sv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pictur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phic">
            <a:extLst>
              <a:ext uri="{FF2B5EF4-FFF2-40B4-BE49-F238E27FC236}">
                <a16:creationId xmlns:a16="http://schemas.microsoft.com/office/drawing/2014/main" id="{6FE31343-DBA1-4E1C-B310-3652C708DBC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l="19322" t="21730" r="39007" b="36603"/>
          <a:stretch/>
        </p:blipFill>
        <p:spPr bwMode="invGray">
          <a:xfrm>
            <a:off x="1361" y="421"/>
            <a:ext cx="12193200" cy="6858000"/>
          </a:xfrm>
          <a:prstGeom prst="rect">
            <a:avLst/>
          </a:prstGeom>
        </p:spPr>
      </p:pic>
      <p:sp>
        <p:nvSpPr>
          <p:cNvPr id="2" name="Title">
            <a:extLst>
              <a:ext uri="{FF2B5EF4-FFF2-40B4-BE49-F238E27FC236}">
                <a16:creationId xmlns:a16="http://schemas.microsoft.com/office/drawing/2014/main" id="{4D270123-9201-40C9-8724-1647E9A0C8F8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627062" y="1414800"/>
            <a:ext cx="5614988" cy="3114000"/>
          </a:xfrm>
        </p:spPr>
        <p:txBody>
          <a:bodyPr lIns="0" tIns="0" bIns="0" anchor="b"/>
          <a:lstStyle>
            <a:lvl1pPr algn="l">
              <a:defRPr sz="44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Subtitle">
            <a:extLst>
              <a:ext uri="{FF2B5EF4-FFF2-40B4-BE49-F238E27FC236}">
                <a16:creationId xmlns:a16="http://schemas.microsoft.com/office/drawing/2014/main" id="{6800291B-8951-48A6-AA08-05DDABDCE8A0}"/>
              </a:ext>
            </a:extLst>
          </p:cNvPr>
          <p:cNvSpPr>
            <a:spLocks noGrp="1"/>
          </p:cNvSpPr>
          <p:nvPr userDrawn="1">
            <p:ph type="subTitle" idx="1" hasCustomPrompt="1"/>
          </p:nvPr>
        </p:nvSpPr>
        <p:spPr>
          <a:xfrm>
            <a:off x="627064" y="4528800"/>
            <a:ext cx="5614986" cy="899252"/>
          </a:xfrm>
        </p:spPr>
        <p:txBody>
          <a:bodyPr lIns="0" tIns="108000" anchor="t">
            <a:noAutofit/>
          </a:bodyPr>
          <a:lstStyle>
            <a:lvl1pPr marL="0" indent="0" algn="l">
              <a:buNone/>
              <a:defRPr sz="15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Presenter of presentation,</a:t>
            </a:r>
            <a:br>
              <a:rPr lang="en-US"/>
            </a:br>
            <a:r>
              <a:rPr lang="en-US"/>
              <a:t>English, Month 2020</a:t>
            </a:r>
          </a:p>
        </p:txBody>
      </p:sp>
      <p:sp>
        <p:nvSpPr>
          <p:cNvPr id="20" name="Copyright">
            <a:extLst>
              <a:ext uri="{FF2B5EF4-FFF2-40B4-BE49-F238E27FC236}">
                <a16:creationId xmlns:a16="http://schemas.microsoft.com/office/drawing/2014/main" id="{D9F34F5F-2345-489B-AB7D-E407430D36F8}"/>
              </a:ext>
            </a:extLst>
          </p:cNvPr>
          <p:cNvSpPr txBox="1"/>
          <p:nvPr userDrawn="1"/>
        </p:nvSpPr>
        <p:spPr>
          <a:xfrm>
            <a:off x="6242050" y="6526800"/>
            <a:ext cx="5949950" cy="331200"/>
          </a:xfrm>
          <a:prstGeom prst="rect">
            <a:avLst/>
          </a:prstGeom>
          <a:noFill/>
        </p:spPr>
        <p:txBody>
          <a:bodyPr wrap="square" lIns="626400" tIns="0" rIns="482400" bIns="0" rtlCol="0">
            <a:noAutofit/>
          </a:bodyPr>
          <a:lstStyle/>
          <a:p>
            <a:pPr algn="r"/>
            <a:r>
              <a:rPr lang="en-US" sz="1000" b="0" noProof="0">
                <a:solidFill>
                  <a:schemeClr val="tx1"/>
                </a:solidFill>
              </a:rPr>
              <a:t>Unrestricted © Siemens Energy, 2021</a:t>
            </a:r>
          </a:p>
        </p:txBody>
      </p:sp>
      <p:sp>
        <p:nvSpPr>
          <p:cNvPr id="9" name="License statement">
            <a:extLst>
              <a:ext uri="{FF2B5EF4-FFF2-40B4-BE49-F238E27FC236}">
                <a16:creationId xmlns:a16="http://schemas.microsoft.com/office/drawing/2014/main" id="{239D0E4B-66A6-4FE5-BA27-541046B3DA99}"/>
              </a:ext>
            </a:extLst>
          </p:cNvPr>
          <p:cNvSpPr txBox="1"/>
          <p:nvPr userDrawn="1"/>
        </p:nvSpPr>
        <p:spPr>
          <a:xfrm>
            <a:off x="627063" y="6526800"/>
            <a:ext cx="5468936" cy="331200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algn="l"/>
            <a:r>
              <a:rPr lang="en-US" sz="1000" b="0" noProof="0">
                <a:solidFill>
                  <a:schemeClr val="accent6"/>
                </a:solidFill>
              </a:rPr>
              <a:t>Siemens Energy is a registered trademark licensed by Siemens AG.</a:t>
            </a:r>
          </a:p>
        </p:txBody>
      </p:sp>
      <p:pic>
        <p:nvPicPr>
          <p:cNvPr id="10" name="Logo">
            <a:extLst>
              <a:ext uri="{FF2B5EF4-FFF2-40B4-BE49-F238E27FC236}">
                <a16:creationId xmlns:a16="http://schemas.microsoft.com/office/drawing/2014/main" id="{BDE6CC66-01ED-4C38-82FB-6CE0F487EF18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rcRect/>
          <a:stretch/>
        </p:blipFill>
        <p:spPr bwMode="black">
          <a:xfrm>
            <a:off x="10274163" y="468926"/>
            <a:ext cx="1440000" cy="4968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2281372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color fi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4D270123-9201-40C9-8724-1647E9A0C8F8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627063" y="1414800"/>
            <a:ext cx="8207375" cy="3114000"/>
          </a:xfrm>
        </p:spPr>
        <p:txBody>
          <a:bodyPr lIns="0" tIns="0" bIns="0" anchor="b"/>
          <a:lstStyle>
            <a:lvl1pPr algn="l">
              <a:defRPr sz="4400">
                <a:solidFill>
                  <a:schemeClr val="accent2"/>
                </a:solidFill>
              </a:defRPr>
            </a:lvl1pPr>
          </a:lstStyle>
          <a:p>
            <a:r>
              <a:rPr lang="en-US" noProof="0"/>
              <a:t>Chapter divider</a:t>
            </a:r>
          </a:p>
        </p:txBody>
      </p:sp>
      <p:sp>
        <p:nvSpPr>
          <p:cNvPr id="4" name="Subtitle">
            <a:extLst>
              <a:ext uri="{FF2B5EF4-FFF2-40B4-BE49-F238E27FC236}">
                <a16:creationId xmlns:a16="http://schemas.microsoft.com/office/drawing/2014/main" id="{6800291B-8951-48A6-AA08-05DDABDCE8A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27064" y="4528800"/>
            <a:ext cx="8208000" cy="899252"/>
          </a:xfrm>
        </p:spPr>
        <p:txBody>
          <a:bodyPr lIns="0" tIns="108000" anchor="t">
            <a:noAutofit/>
          </a:bodyPr>
          <a:lstStyle>
            <a:lvl1pPr marL="0" indent="0" algn="l">
              <a:buNone/>
              <a:defRPr sz="1500" b="0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Presenter of presentation,</a:t>
            </a:r>
            <a:br>
              <a:rPr lang="en-US"/>
            </a:br>
            <a:r>
              <a:rPr lang="en-US"/>
              <a:t>English, Month 2020</a:t>
            </a:r>
          </a:p>
        </p:txBody>
      </p:sp>
      <p:sp>
        <p:nvSpPr>
          <p:cNvPr id="7" name="License statement">
            <a:extLst>
              <a:ext uri="{FF2B5EF4-FFF2-40B4-BE49-F238E27FC236}">
                <a16:creationId xmlns:a16="http://schemas.microsoft.com/office/drawing/2014/main" id="{D0DCD031-C87D-4337-8B6F-81915A0662B8}"/>
              </a:ext>
            </a:extLst>
          </p:cNvPr>
          <p:cNvSpPr txBox="1"/>
          <p:nvPr userDrawn="1"/>
        </p:nvSpPr>
        <p:spPr>
          <a:xfrm>
            <a:off x="1692000" y="6526800"/>
            <a:ext cx="4402800" cy="331200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algn="l"/>
            <a:r>
              <a:rPr lang="en-US" sz="1000" b="0" noProof="0">
                <a:solidFill>
                  <a:schemeClr val="accent6"/>
                </a:solidFill>
              </a:rPr>
              <a:t>Siemens Energy is a registered trademark licensed by Siemens AG.</a:t>
            </a:r>
          </a:p>
        </p:txBody>
      </p:sp>
      <p:pic>
        <p:nvPicPr>
          <p:cNvPr id="6" name="Logo">
            <a:extLst>
              <a:ext uri="{FF2B5EF4-FFF2-40B4-BE49-F238E27FC236}">
                <a16:creationId xmlns:a16="http://schemas.microsoft.com/office/drawing/2014/main" id="{4774ED4C-2CE3-4F97-9292-1D483D04ABB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 bwMode="black">
          <a:xfrm>
            <a:off x="10274163" y="468926"/>
            <a:ext cx="1439999" cy="4968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5023569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title color fill 2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Background">
            <a:extLst>
              <a:ext uri="{FF2B5EF4-FFF2-40B4-BE49-F238E27FC236}">
                <a16:creationId xmlns:a16="http://schemas.microsoft.com/office/drawing/2014/main" id="{5EEEC47E-29AF-4B44-A9C9-06E5C65189D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invGray">
          <a:xfrm>
            <a:off x="0" y="428"/>
            <a:ext cx="12191999" cy="6857143"/>
          </a:xfrm>
          <a:prstGeom prst="rect">
            <a:avLst/>
          </a:prstGeom>
        </p:spPr>
      </p:pic>
      <p:sp>
        <p:nvSpPr>
          <p:cNvPr id="2" name="Title">
            <a:extLst>
              <a:ext uri="{FF2B5EF4-FFF2-40B4-BE49-F238E27FC236}">
                <a16:creationId xmlns:a16="http://schemas.microsoft.com/office/drawing/2014/main" id="{4D270123-9201-40C9-8724-1647E9A0C8F8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627063" y="1414800"/>
            <a:ext cx="8207375" cy="3114000"/>
          </a:xfrm>
        </p:spPr>
        <p:txBody>
          <a:bodyPr lIns="0" tIns="0" bIns="0" anchor="b"/>
          <a:lstStyle>
            <a:lvl1pPr algn="l">
              <a:defRPr sz="440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hapter divider</a:t>
            </a:r>
          </a:p>
        </p:txBody>
      </p:sp>
      <p:sp>
        <p:nvSpPr>
          <p:cNvPr id="8" name="Subtitle">
            <a:extLst>
              <a:ext uri="{FF2B5EF4-FFF2-40B4-BE49-F238E27FC236}">
                <a16:creationId xmlns:a16="http://schemas.microsoft.com/office/drawing/2014/main" id="{6800291B-8951-48A6-AA08-05DDABDCE8A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27064" y="4528800"/>
            <a:ext cx="8208000" cy="899252"/>
          </a:xfrm>
        </p:spPr>
        <p:txBody>
          <a:bodyPr lIns="0" tIns="108000" anchor="t">
            <a:noAutofit/>
          </a:bodyPr>
          <a:lstStyle>
            <a:lvl1pPr marL="0" indent="0" algn="l">
              <a:buNone/>
              <a:defRPr sz="15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Presenter of presentation,</a:t>
            </a:r>
            <a:br>
              <a:rPr lang="en-US"/>
            </a:br>
            <a:r>
              <a:rPr lang="en-US"/>
              <a:t>English, Month 2020</a:t>
            </a:r>
          </a:p>
        </p:txBody>
      </p:sp>
      <p:sp>
        <p:nvSpPr>
          <p:cNvPr id="21" name="Author | Department">
            <a:extLst>
              <a:ext uri="{FF2B5EF4-FFF2-40B4-BE49-F238E27FC236}">
                <a16:creationId xmlns:a16="http://schemas.microsoft.com/office/drawing/2014/main" id="{D68DCDC5-4F2B-44B6-8F0F-820176DFF1B3}"/>
              </a:ext>
            </a:extLst>
          </p:cNvPr>
          <p:cNvSpPr txBox="1"/>
          <p:nvPr userDrawn="1"/>
        </p:nvSpPr>
        <p:spPr>
          <a:xfrm>
            <a:off x="6242050" y="6166800"/>
            <a:ext cx="5949950" cy="360000"/>
          </a:xfrm>
          <a:prstGeom prst="rect">
            <a:avLst/>
          </a:prstGeom>
          <a:noFill/>
        </p:spPr>
        <p:txBody>
          <a:bodyPr wrap="square" lIns="0" tIns="0" rIns="835200" bIns="36000" rtlCol="0" anchor="b">
            <a:noAutofit/>
          </a:bodyPr>
          <a:lstStyle/>
          <a:p>
            <a:pPr algn="r"/>
            <a:r>
              <a:rPr lang="en-US" sz="1000" b="0" noProof="0">
                <a:solidFill>
                  <a:schemeClr val="tx1"/>
                </a:solidFill>
              </a:rPr>
              <a:t>Author | Department</a:t>
            </a:r>
          </a:p>
        </p:txBody>
      </p:sp>
      <p:sp>
        <p:nvSpPr>
          <p:cNvPr id="22" name="Copyright">
            <a:extLst>
              <a:ext uri="{FF2B5EF4-FFF2-40B4-BE49-F238E27FC236}">
                <a16:creationId xmlns:a16="http://schemas.microsoft.com/office/drawing/2014/main" id="{7F37D979-5873-43CB-B2A0-7F29413E1A8E}"/>
              </a:ext>
            </a:extLst>
          </p:cNvPr>
          <p:cNvSpPr txBox="1"/>
          <p:nvPr userDrawn="1"/>
        </p:nvSpPr>
        <p:spPr>
          <a:xfrm>
            <a:off x="6242050" y="6526800"/>
            <a:ext cx="5949950" cy="331200"/>
          </a:xfrm>
          <a:prstGeom prst="rect">
            <a:avLst/>
          </a:prstGeom>
          <a:noFill/>
        </p:spPr>
        <p:txBody>
          <a:bodyPr wrap="square" lIns="626400" tIns="0" rIns="482400" bIns="0" rtlCol="0" anchor="t">
            <a:noAutofit/>
          </a:bodyPr>
          <a:lstStyle/>
          <a:p>
            <a:pPr algn="r"/>
            <a:r>
              <a:rPr lang="en-US" sz="1000" b="0" noProof="0">
                <a:solidFill>
                  <a:schemeClr val="tx1"/>
                </a:solidFill>
              </a:rPr>
              <a:t>Unrestricted © Siemens Energy, 2021</a:t>
            </a:r>
          </a:p>
        </p:txBody>
      </p:sp>
      <p:sp>
        <p:nvSpPr>
          <p:cNvPr id="23" name="Page">
            <a:extLst>
              <a:ext uri="{FF2B5EF4-FFF2-40B4-BE49-F238E27FC236}">
                <a16:creationId xmlns:a16="http://schemas.microsoft.com/office/drawing/2014/main" id="{03A6209B-0B23-4B14-8B9F-CD213A6E0968}"/>
              </a:ext>
            </a:extLst>
          </p:cNvPr>
          <p:cNvSpPr txBox="1"/>
          <p:nvPr userDrawn="1"/>
        </p:nvSpPr>
        <p:spPr>
          <a:xfrm>
            <a:off x="11364000" y="6166800"/>
            <a:ext cx="828000" cy="360000"/>
          </a:xfrm>
          <a:prstGeom prst="rect">
            <a:avLst/>
          </a:prstGeom>
          <a:noFill/>
        </p:spPr>
        <p:txBody>
          <a:bodyPr wrap="square" lIns="0" tIns="0" rIns="482400" bIns="36000" rtlCol="0" anchor="b">
            <a:noAutofit/>
          </a:bodyPr>
          <a:lstStyle/>
          <a:p>
            <a:pPr algn="r"/>
            <a:fld id="{6F7EFBA6-8CEB-40F4-B709-F27F7004ACFC}" type="slidenum">
              <a:rPr lang="en-US" sz="1000" b="1" noProof="0" smtClean="0">
                <a:solidFill>
                  <a:schemeClr val="tx1"/>
                </a:solidFill>
              </a:rPr>
              <a:t>‹Nr.›</a:t>
            </a:fld>
            <a:endParaRPr lang="en-US" sz="1000" b="1" noProof="0">
              <a:solidFill>
                <a:schemeClr val="tx1"/>
              </a:solidFill>
            </a:endParaRPr>
          </a:p>
        </p:txBody>
      </p:sp>
      <p:sp>
        <p:nvSpPr>
          <p:cNvPr id="14" name="Date">
            <a:extLst>
              <a:ext uri="{FF2B5EF4-FFF2-40B4-BE49-F238E27FC236}">
                <a16:creationId xmlns:a16="http://schemas.microsoft.com/office/drawing/2014/main" id="{135B676A-1967-447F-9CAE-69D52FC83DD5}"/>
              </a:ext>
            </a:extLst>
          </p:cNvPr>
          <p:cNvSpPr txBox="1"/>
          <p:nvPr userDrawn="1"/>
        </p:nvSpPr>
        <p:spPr>
          <a:xfrm>
            <a:off x="-1" y="6526800"/>
            <a:ext cx="1692000" cy="331200"/>
          </a:xfrm>
          <a:prstGeom prst="rect">
            <a:avLst/>
          </a:prstGeom>
          <a:noFill/>
        </p:spPr>
        <p:txBody>
          <a:bodyPr wrap="square" lIns="626400" tIns="0" rIns="0" bIns="0" rtlCol="0" anchor="t">
            <a:noAutofit/>
          </a:bodyPr>
          <a:lstStyle/>
          <a:p>
            <a:pPr algn="l"/>
            <a:r>
              <a:rPr lang="en-US" sz="1000" b="0" noProof="0">
                <a:solidFill>
                  <a:schemeClr val="tx1"/>
                </a:solidFill>
              </a:rPr>
              <a:t>YYYY-MM-DD</a:t>
            </a:r>
          </a:p>
        </p:txBody>
      </p:sp>
      <p:sp>
        <p:nvSpPr>
          <p:cNvPr id="15" name="License statement">
            <a:extLst>
              <a:ext uri="{FF2B5EF4-FFF2-40B4-BE49-F238E27FC236}">
                <a16:creationId xmlns:a16="http://schemas.microsoft.com/office/drawing/2014/main" id="{9FD4DA83-51C4-4A4B-A278-BEF26AF8F17F}"/>
              </a:ext>
            </a:extLst>
          </p:cNvPr>
          <p:cNvSpPr txBox="1"/>
          <p:nvPr userDrawn="1"/>
        </p:nvSpPr>
        <p:spPr>
          <a:xfrm>
            <a:off x="1692000" y="6526800"/>
            <a:ext cx="4402800" cy="331200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algn="l"/>
            <a:r>
              <a:rPr lang="en-US" sz="1000" b="0" noProof="0">
                <a:solidFill>
                  <a:schemeClr val="accent6"/>
                </a:solidFill>
              </a:rPr>
              <a:t>Siemens Energy is a registered trademark licensed by Siemens AG.</a:t>
            </a:r>
          </a:p>
        </p:txBody>
      </p:sp>
      <p:pic>
        <p:nvPicPr>
          <p:cNvPr id="11" name="Logo">
            <a:extLst>
              <a:ext uri="{FF2B5EF4-FFF2-40B4-BE49-F238E27FC236}">
                <a16:creationId xmlns:a16="http://schemas.microsoft.com/office/drawing/2014/main" id="{387AABCF-4385-4691-9A06-00F20F9065DB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 bwMode="black">
          <a:xfrm>
            <a:off x="10274163" y="468926"/>
            <a:ext cx="1440000" cy="4968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381695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title color fill 3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ackground">
            <a:extLst>
              <a:ext uri="{FF2B5EF4-FFF2-40B4-BE49-F238E27FC236}">
                <a16:creationId xmlns:a16="http://schemas.microsoft.com/office/drawing/2014/main" id="{8417E295-392C-44FE-8176-B174ED9A229B}"/>
              </a:ext>
            </a:extLst>
          </p:cNvPr>
          <p:cNvSpPr/>
          <p:nvPr userDrawn="1"/>
        </p:nvSpPr>
        <p:spPr bwMode="invGray">
          <a:xfrm>
            <a:off x="-2" y="0"/>
            <a:ext cx="12192001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4D270123-9201-40C9-8724-1647E9A0C8F8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627063" y="1414800"/>
            <a:ext cx="8207375" cy="3114000"/>
          </a:xfrm>
        </p:spPr>
        <p:txBody>
          <a:bodyPr lIns="0" tIns="0" bIns="0" anchor="b"/>
          <a:lstStyle>
            <a:lvl1pPr algn="l">
              <a:defRPr sz="440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hapter divider</a:t>
            </a:r>
          </a:p>
        </p:txBody>
      </p:sp>
      <p:sp>
        <p:nvSpPr>
          <p:cNvPr id="8" name="Subtitle">
            <a:extLst>
              <a:ext uri="{FF2B5EF4-FFF2-40B4-BE49-F238E27FC236}">
                <a16:creationId xmlns:a16="http://schemas.microsoft.com/office/drawing/2014/main" id="{6800291B-8951-48A6-AA08-05DDABDCE8A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27064" y="4528800"/>
            <a:ext cx="8208000" cy="899252"/>
          </a:xfrm>
        </p:spPr>
        <p:txBody>
          <a:bodyPr lIns="0" tIns="108000" anchor="t">
            <a:noAutofit/>
          </a:bodyPr>
          <a:lstStyle>
            <a:lvl1pPr marL="0" indent="0" algn="l">
              <a:buNone/>
              <a:defRPr sz="15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Presenter of presentation,</a:t>
            </a:r>
            <a:br>
              <a:rPr lang="en-US"/>
            </a:br>
            <a:r>
              <a:rPr lang="en-US"/>
              <a:t>English, Month 2020</a:t>
            </a:r>
          </a:p>
        </p:txBody>
      </p:sp>
      <p:sp>
        <p:nvSpPr>
          <p:cNvPr id="17" name="Author | Department">
            <a:extLst>
              <a:ext uri="{FF2B5EF4-FFF2-40B4-BE49-F238E27FC236}">
                <a16:creationId xmlns:a16="http://schemas.microsoft.com/office/drawing/2014/main" id="{26DFA7DF-409A-4EF9-98B8-082D9F0DFFA2}"/>
              </a:ext>
            </a:extLst>
          </p:cNvPr>
          <p:cNvSpPr txBox="1"/>
          <p:nvPr userDrawn="1"/>
        </p:nvSpPr>
        <p:spPr>
          <a:xfrm>
            <a:off x="6242050" y="6166800"/>
            <a:ext cx="5949950" cy="360000"/>
          </a:xfrm>
          <a:prstGeom prst="rect">
            <a:avLst/>
          </a:prstGeom>
          <a:noFill/>
        </p:spPr>
        <p:txBody>
          <a:bodyPr wrap="square" lIns="0" tIns="0" rIns="835200" bIns="36000" rtlCol="0" anchor="b">
            <a:noAutofit/>
          </a:bodyPr>
          <a:lstStyle/>
          <a:p>
            <a:pPr algn="r"/>
            <a:r>
              <a:rPr lang="en-US" sz="1000" b="0" noProof="0">
                <a:solidFill>
                  <a:schemeClr val="tx1"/>
                </a:solidFill>
              </a:rPr>
              <a:t>Author | Department</a:t>
            </a:r>
          </a:p>
        </p:txBody>
      </p:sp>
      <p:sp>
        <p:nvSpPr>
          <p:cNvPr id="18" name="Copyright">
            <a:extLst>
              <a:ext uri="{FF2B5EF4-FFF2-40B4-BE49-F238E27FC236}">
                <a16:creationId xmlns:a16="http://schemas.microsoft.com/office/drawing/2014/main" id="{FBB07F48-7C23-4EE9-98FE-9F1E3B2F0CF9}"/>
              </a:ext>
            </a:extLst>
          </p:cNvPr>
          <p:cNvSpPr txBox="1"/>
          <p:nvPr userDrawn="1"/>
        </p:nvSpPr>
        <p:spPr>
          <a:xfrm>
            <a:off x="6242050" y="6526800"/>
            <a:ext cx="5949950" cy="331200"/>
          </a:xfrm>
          <a:prstGeom prst="rect">
            <a:avLst/>
          </a:prstGeom>
          <a:noFill/>
        </p:spPr>
        <p:txBody>
          <a:bodyPr wrap="square" lIns="626400" tIns="0" rIns="482400" bIns="0" rtlCol="0" anchor="t">
            <a:noAutofit/>
          </a:bodyPr>
          <a:lstStyle/>
          <a:p>
            <a:pPr algn="r"/>
            <a:r>
              <a:rPr lang="en-US" sz="1000" b="0" noProof="0">
                <a:solidFill>
                  <a:schemeClr val="tx1"/>
                </a:solidFill>
              </a:rPr>
              <a:t>Unrestricted © Siemens Energy, 2021</a:t>
            </a:r>
          </a:p>
        </p:txBody>
      </p:sp>
      <p:sp>
        <p:nvSpPr>
          <p:cNvPr id="19" name="Page">
            <a:extLst>
              <a:ext uri="{FF2B5EF4-FFF2-40B4-BE49-F238E27FC236}">
                <a16:creationId xmlns:a16="http://schemas.microsoft.com/office/drawing/2014/main" id="{729C0801-E71C-4366-8677-B076F4D6C490}"/>
              </a:ext>
            </a:extLst>
          </p:cNvPr>
          <p:cNvSpPr txBox="1"/>
          <p:nvPr userDrawn="1"/>
        </p:nvSpPr>
        <p:spPr>
          <a:xfrm>
            <a:off x="11364000" y="6166800"/>
            <a:ext cx="828000" cy="360000"/>
          </a:xfrm>
          <a:prstGeom prst="rect">
            <a:avLst/>
          </a:prstGeom>
          <a:noFill/>
        </p:spPr>
        <p:txBody>
          <a:bodyPr wrap="square" lIns="0" tIns="0" rIns="482400" bIns="36000" rtlCol="0" anchor="b">
            <a:noAutofit/>
          </a:bodyPr>
          <a:lstStyle/>
          <a:p>
            <a:pPr algn="r"/>
            <a:fld id="{6F7EFBA6-8CEB-40F4-B709-F27F7004ACFC}" type="slidenum">
              <a:rPr lang="en-US" sz="1000" b="1" noProof="0" smtClean="0">
                <a:solidFill>
                  <a:schemeClr val="tx1"/>
                </a:solidFill>
              </a:rPr>
              <a:t>‹Nr.›</a:t>
            </a:fld>
            <a:endParaRPr lang="en-US" sz="1000" b="1" noProof="0">
              <a:solidFill>
                <a:schemeClr val="tx1"/>
              </a:solidFill>
            </a:endParaRPr>
          </a:p>
        </p:txBody>
      </p:sp>
      <p:sp>
        <p:nvSpPr>
          <p:cNvPr id="12" name="Date">
            <a:extLst>
              <a:ext uri="{FF2B5EF4-FFF2-40B4-BE49-F238E27FC236}">
                <a16:creationId xmlns:a16="http://schemas.microsoft.com/office/drawing/2014/main" id="{82BE5B3D-7992-492A-8060-97136D5B3973}"/>
              </a:ext>
            </a:extLst>
          </p:cNvPr>
          <p:cNvSpPr txBox="1"/>
          <p:nvPr userDrawn="1"/>
        </p:nvSpPr>
        <p:spPr>
          <a:xfrm>
            <a:off x="-1" y="6526800"/>
            <a:ext cx="1692000" cy="331200"/>
          </a:xfrm>
          <a:prstGeom prst="rect">
            <a:avLst/>
          </a:prstGeom>
          <a:noFill/>
        </p:spPr>
        <p:txBody>
          <a:bodyPr wrap="square" lIns="626400" tIns="0" rIns="0" bIns="0" rtlCol="0" anchor="t">
            <a:noAutofit/>
          </a:bodyPr>
          <a:lstStyle/>
          <a:p>
            <a:pPr algn="l"/>
            <a:r>
              <a:rPr lang="en-US" sz="1000" b="0" noProof="0">
                <a:solidFill>
                  <a:schemeClr val="tx1"/>
                </a:solidFill>
              </a:rPr>
              <a:t>YYYY-MM-DD</a:t>
            </a:r>
          </a:p>
        </p:txBody>
      </p:sp>
      <p:sp>
        <p:nvSpPr>
          <p:cNvPr id="14" name="License statement">
            <a:extLst>
              <a:ext uri="{FF2B5EF4-FFF2-40B4-BE49-F238E27FC236}">
                <a16:creationId xmlns:a16="http://schemas.microsoft.com/office/drawing/2014/main" id="{B7CADBCA-4DE1-404E-BF7C-ADF2A140AC0F}"/>
              </a:ext>
            </a:extLst>
          </p:cNvPr>
          <p:cNvSpPr txBox="1"/>
          <p:nvPr userDrawn="1"/>
        </p:nvSpPr>
        <p:spPr>
          <a:xfrm>
            <a:off x="1692000" y="6526800"/>
            <a:ext cx="4402800" cy="331200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algn="l"/>
            <a:r>
              <a:rPr lang="en-US" sz="1000" b="0" noProof="0">
                <a:solidFill>
                  <a:schemeClr val="accent6"/>
                </a:solidFill>
              </a:rPr>
              <a:t>Siemens Energy is a registered trademark licensed by Siemens AG.</a:t>
            </a:r>
          </a:p>
        </p:txBody>
      </p:sp>
      <p:pic>
        <p:nvPicPr>
          <p:cNvPr id="11" name="Logo">
            <a:extLst>
              <a:ext uri="{FF2B5EF4-FFF2-40B4-BE49-F238E27FC236}">
                <a16:creationId xmlns:a16="http://schemas.microsoft.com/office/drawing/2014/main" id="{487C015F-913C-48DD-99E5-F1AEE0B2AC9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 bwMode="black">
          <a:xfrm>
            <a:off x="10274163" y="468926"/>
            <a:ext cx="1440000" cy="4968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101850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Index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phic">
            <a:extLst>
              <a:ext uri="{FF2B5EF4-FFF2-40B4-BE49-F238E27FC236}">
                <a16:creationId xmlns:a16="http://schemas.microsoft.com/office/drawing/2014/main" id="{F1C3F0AE-B730-4CA9-92F6-C1C6E956774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l="16123" t="21730" r="42206" b="36603"/>
          <a:stretch/>
        </p:blipFill>
        <p:spPr bwMode="invGray">
          <a:xfrm>
            <a:off x="1360" y="425"/>
            <a:ext cx="12193200" cy="6858000"/>
          </a:xfrm>
          <a:prstGeom prst="rect">
            <a:avLst/>
          </a:prstGeom>
        </p:spPr>
      </p:pic>
      <p:sp>
        <p:nvSpPr>
          <p:cNvPr id="2" name="Table of contents">
            <a:extLst>
              <a:ext uri="{FF2B5EF4-FFF2-40B4-BE49-F238E27FC236}">
                <a16:creationId xmlns:a16="http://schemas.microsoft.com/office/drawing/2014/main" id="{989931F3-BF65-40DB-9BE0-80167D2EBFE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Table of contents</a:t>
            </a:r>
          </a:p>
        </p:txBody>
      </p:sp>
      <p:sp>
        <p:nvSpPr>
          <p:cNvPr id="8" name="Table"/>
          <p:cNvSpPr>
            <a:spLocks noGrp="1"/>
          </p:cNvSpPr>
          <p:nvPr>
            <p:ph type="tbl" sz="quarter" idx="10" hasCustomPrompt="1"/>
          </p:nvPr>
        </p:nvSpPr>
        <p:spPr>
          <a:xfrm>
            <a:off x="627062" y="1522800"/>
            <a:ext cx="8208000" cy="4644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Table</a:t>
            </a:r>
          </a:p>
        </p:txBody>
      </p:sp>
      <p:sp>
        <p:nvSpPr>
          <p:cNvPr id="6" name="Author | Department">
            <a:extLst>
              <a:ext uri="{FF2B5EF4-FFF2-40B4-BE49-F238E27FC236}">
                <a16:creationId xmlns:a16="http://schemas.microsoft.com/office/drawing/2014/main" id="{F1D626C4-116E-471D-A183-678A72706E84}"/>
              </a:ext>
            </a:extLst>
          </p:cNvPr>
          <p:cNvSpPr txBox="1"/>
          <p:nvPr userDrawn="1"/>
        </p:nvSpPr>
        <p:spPr>
          <a:xfrm>
            <a:off x="6242050" y="6166800"/>
            <a:ext cx="5949950" cy="360000"/>
          </a:xfrm>
          <a:prstGeom prst="rect">
            <a:avLst/>
          </a:prstGeom>
          <a:noFill/>
        </p:spPr>
        <p:txBody>
          <a:bodyPr wrap="square" lIns="0" tIns="0" rIns="835200" bIns="36000" rtlCol="0" anchor="b">
            <a:noAutofit/>
          </a:bodyPr>
          <a:lstStyle/>
          <a:p>
            <a:pPr algn="r"/>
            <a:r>
              <a:rPr lang="en-US" sz="1000" b="0" noProof="0">
                <a:solidFill>
                  <a:schemeClr val="tx1"/>
                </a:solidFill>
              </a:rPr>
              <a:t>Author | Department</a:t>
            </a:r>
          </a:p>
        </p:txBody>
      </p:sp>
      <p:sp>
        <p:nvSpPr>
          <p:cNvPr id="9" name="Copyright">
            <a:extLst>
              <a:ext uri="{FF2B5EF4-FFF2-40B4-BE49-F238E27FC236}">
                <a16:creationId xmlns:a16="http://schemas.microsoft.com/office/drawing/2014/main" id="{78B59CFA-AFE0-4473-A60A-D84A1A90AE48}"/>
              </a:ext>
            </a:extLst>
          </p:cNvPr>
          <p:cNvSpPr txBox="1"/>
          <p:nvPr userDrawn="1"/>
        </p:nvSpPr>
        <p:spPr>
          <a:xfrm>
            <a:off x="6242050" y="6526800"/>
            <a:ext cx="5949950" cy="331200"/>
          </a:xfrm>
          <a:prstGeom prst="rect">
            <a:avLst/>
          </a:prstGeom>
          <a:noFill/>
        </p:spPr>
        <p:txBody>
          <a:bodyPr wrap="square" lIns="626400" tIns="0" rIns="482400" bIns="0" rtlCol="0" anchor="t">
            <a:noAutofit/>
          </a:bodyPr>
          <a:lstStyle/>
          <a:p>
            <a:pPr algn="r"/>
            <a:r>
              <a:rPr lang="en-US" sz="1000" b="0" noProof="0">
                <a:solidFill>
                  <a:schemeClr val="tx1"/>
                </a:solidFill>
              </a:rPr>
              <a:t>Unrestricted © Siemens Energy, 2021</a:t>
            </a:r>
          </a:p>
        </p:txBody>
      </p:sp>
      <p:sp>
        <p:nvSpPr>
          <p:cNvPr id="10" name="Page">
            <a:extLst>
              <a:ext uri="{FF2B5EF4-FFF2-40B4-BE49-F238E27FC236}">
                <a16:creationId xmlns:a16="http://schemas.microsoft.com/office/drawing/2014/main" id="{EFC6F67A-D89D-43AA-A5C1-18FB7E52FD1F}"/>
              </a:ext>
            </a:extLst>
          </p:cNvPr>
          <p:cNvSpPr txBox="1"/>
          <p:nvPr userDrawn="1"/>
        </p:nvSpPr>
        <p:spPr>
          <a:xfrm>
            <a:off x="11364000" y="6166800"/>
            <a:ext cx="828000" cy="360000"/>
          </a:xfrm>
          <a:prstGeom prst="rect">
            <a:avLst/>
          </a:prstGeom>
          <a:noFill/>
        </p:spPr>
        <p:txBody>
          <a:bodyPr wrap="square" lIns="0" tIns="0" rIns="482400" bIns="36000" rtlCol="0" anchor="b">
            <a:noAutofit/>
          </a:bodyPr>
          <a:lstStyle/>
          <a:p>
            <a:pPr algn="r"/>
            <a:fld id="{6F7EFBA6-8CEB-40F4-B709-F27F7004ACFC}" type="slidenum">
              <a:rPr lang="en-US" sz="1000" b="1" noProof="0" smtClean="0">
                <a:solidFill>
                  <a:schemeClr val="tx1"/>
                </a:solidFill>
              </a:rPr>
              <a:t>‹Nr.›</a:t>
            </a:fld>
            <a:endParaRPr lang="en-US" sz="1000" b="1" noProof="0">
              <a:solidFill>
                <a:schemeClr val="tx1"/>
              </a:solidFill>
            </a:endParaRPr>
          </a:p>
        </p:txBody>
      </p:sp>
      <p:sp>
        <p:nvSpPr>
          <p:cNvPr id="14" name="Date">
            <a:extLst>
              <a:ext uri="{FF2B5EF4-FFF2-40B4-BE49-F238E27FC236}">
                <a16:creationId xmlns:a16="http://schemas.microsoft.com/office/drawing/2014/main" id="{F6C6E93D-807F-4E17-B486-DCE68B9A6AD6}"/>
              </a:ext>
            </a:extLst>
          </p:cNvPr>
          <p:cNvSpPr txBox="1"/>
          <p:nvPr userDrawn="1"/>
        </p:nvSpPr>
        <p:spPr>
          <a:xfrm>
            <a:off x="-1" y="6526800"/>
            <a:ext cx="1692000" cy="331200"/>
          </a:xfrm>
          <a:prstGeom prst="rect">
            <a:avLst/>
          </a:prstGeom>
          <a:noFill/>
        </p:spPr>
        <p:txBody>
          <a:bodyPr wrap="square" lIns="626400" tIns="0" rIns="0" bIns="0" rtlCol="0" anchor="t">
            <a:noAutofit/>
          </a:bodyPr>
          <a:lstStyle/>
          <a:p>
            <a:pPr algn="l"/>
            <a:r>
              <a:rPr lang="en-US" sz="1000" b="0" noProof="0">
                <a:solidFill>
                  <a:schemeClr val="tx1"/>
                </a:solidFill>
              </a:rPr>
              <a:t>YYYY-MM-DD</a:t>
            </a:r>
          </a:p>
        </p:txBody>
      </p:sp>
    </p:spTree>
    <p:extLst>
      <p:ext uri="{BB962C8B-B14F-4D97-AF65-F5344CB8AC3E}">
        <p14:creationId xmlns:p14="http://schemas.microsoft.com/office/powerpoint/2010/main" val="158010928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Inde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able of contents">
            <a:extLst>
              <a:ext uri="{FF2B5EF4-FFF2-40B4-BE49-F238E27FC236}">
                <a16:creationId xmlns:a16="http://schemas.microsoft.com/office/drawing/2014/main" id="{C41ED7A8-59A7-4A1B-85AB-660A43EF3A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/>
              <a:t>Table of contents</a:t>
            </a:r>
            <a:endParaRPr lang="en-US"/>
          </a:p>
        </p:txBody>
      </p:sp>
      <p:sp>
        <p:nvSpPr>
          <p:cNvPr id="4" name="Table"/>
          <p:cNvSpPr>
            <a:spLocks noGrp="1"/>
          </p:cNvSpPr>
          <p:nvPr>
            <p:ph type="tbl" sz="quarter" idx="10" hasCustomPrompt="1"/>
          </p:nvPr>
        </p:nvSpPr>
        <p:spPr>
          <a:xfrm>
            <a:off x="627062" y="1522800"/>
            <a:ext cx="8208000" cy="4644575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/>
              <a:t>Table</a:t>
            </a:r>
          </a:p>
        </p:txBody>
      </p:sp>
    </p:spTree>
    <p:extLst>
      <p:ext uri="{BB962C8B-B14F-4D97-AF65-F5344CB8AC3E}">
        <p14:creationId xmlns:p14="http://schemas.microsoft.com/office/powerpoint/2010/main" val="91949920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Index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able of contents">
            <a:extLst>
              <a:ext uri="{FF2B5EF4-FFF2-40B4-BE49-F238E27FC236}">
                <a16:creationId xmlns:a16="http://schemas.microsoft.com/office/drawing/2014/main" id="{C310531E-0CC7-4528-B1E6-9F819FD0E00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/>
              <a:t>Table of contents</a:t>
            </a:r>
            <a:endParaRPr lang="en-US"/>
          </a:p>
        </p:txBody>
      </p:sp>
      <p:sp>
        <p:nvSpPr>
          <p:cNvPr id="4" name="Chapter 1">
            <a:extLst>
              <a:ext uri="{FF2B5EF4-FFF2-40B4-BE49-F238E27FC236}">
                <a16:creationId xmlns:a16="http://schemas.microsoft.com/office/drawing/2014/main" id="{3EF4C540-3305-446C-B3A6-5230FE8E1E6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27063" y="1703388"/>
            <a:ext cx="2160000" cy="2016000"/>
          </a:xfrm>
        </p:spPr>
        <p:txBody>
          <a:bodyPr lIns="180000" tIns="108000"/>
          <a:lstStyle>
            <a:lvl1pPr>
              <a:lnSpc>
                <a:spcPct val="90000"/>
              </a:lnSpc>
              <a:spcAft>
                <a:spcPts val="1500"/>
              </a:spcAft>
              <a:defRPr sz="7200" b="1"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  <a:lvl2pPr marL="0" indent="0">
              <a:buNone/>
              <a:defRPr b="1"/>
            </a:lvl2pPr>
            <a:lvl3pPr marL="0" indent="0">
              <a:buNone/>
              <a:defRPr/>
            </a:lvl3pPr>
          </a:lstStyle>
          <a:p>
            <a:pPr lvl="0"/>
            <a:r>
              <a:rPr lang="en-US" noProof="0"/>
              <a:t>No.</a:t>
            </a:r>
          </a:p>
          <a:p>
            <a:pPr lvl="1"/>
            <a:r>
              <a:rPr lang="en-US" noProof="0"/>
              <a:t>Chapter</a:t>
            </a:r>
          </a:p>
          <a:p>
            <a:pPr lvl="2"/>
            <a:r>
              <a:rPr lang="en-US" noProof="0"/>
              <a:t>Topic</a:t>
            </a:r>
          </a:p>
        </p:txBody>
      </p:sp>
      <p:sp>
        <p:nvSpPr>
          <p:cNvPr id="14" name="Chapter 2">
            <a:extLst>
              <a:ext uri="{FF2B5EF4-FFF2-40B4-BE49-F238E27FC236}">
                <a16:creationId xmlns:a16="http://schemas.microsoft.com/office/drawing/2014/main" id="{F65B1E50-0024-482D-BD5A-7064672F6AC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930732" y="1703388"/>
            <a:ext cx="2160000" cy="2016000"/>
          </a:xfrm>
        </p:spPr>
        <p:txBody>
          <a:bodyPr lIns="180000" tIns="108000"/>
          <a:lstStyle>
            <a:lvl1pPr>
              <a:lnSpc>
                <a:spcPct val="90000"/>
              </a:lnSpc>
              <a:spcAft>
                <a:spcPts val="1500"/>
              </a:spcAft>
              <a:defRPr sz="7200" b="1"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  <a:lvl2pPr marL="0" indent="0">
              <a:buNone/>
              <a:defRPr b="1"/>
            </a:lvl2pPr>
            <a:lvl3pPr marL="0" indent="0">
              <a:buNone/>
              <a:defRPr/>
            </a:lvl3pPr>
          </a:lstStyle>
          <a:p>
            <a:pPr lvl="0"/>
            <a:r>
              <a:rPr lang="en-US" noProof="0"/>
              <a:t>No.</a:t>
            </a:r>
          </a:p>
          <a:p>
            <a:pPr lvl="1"/>
            <a:r>
              <a:rPr lang="en-US" noProof="0"/>
              <a:t>Chapter</a:t>
            </a:r>
          </a:p>
          <a:p>
            <a:pPr lvl="2"/>
            <a:r>
              <a:rPr lang="en-US" noProof="0"/>
              <a:t>Topic</a:t>
            </a:r>
          </a:p>
        </p:txBody>
      </p:sp>
      <p:sp>
        <p:nvSpPr>
          <p:cNvPr id="15" name="Chapter 3">
            <a:extLst>
              <a:ext uri="{FF2B5EF4-FFF2-40B4-BE49-F238E27FC236}">
                <a16:creationId xmlns:a16="http://schemas.microsoft.com/office/drawing/2014/main" id="{8AC85E50-79A3-4CC2-85A0-1E361742F5E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234400" y="1703388"/>
            <a:ext cx="2160000" cy="2016000"/>
          </a:xfrm>
        </p:spPr>
        <p:txBody>
          <a:bodyPr lIns="180000" tIns="108000"/>
          <a:lstStyle>
            <a:lvl1pPr>
              <a:lnSpc>
                <a:spcPct val="90000"/>
              </a:lnSpc>
              <a:spcAft>
                <a:spcPts val="1500"/>
              </a:spcAft>
              <a:defRPr sz="7200" b="1"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  <a:lvl2pPr marL="0" indent="0">
              <a:buNone/>
              <a:defRPr b="1"/>
            </a:lvl2pPr>
            <a:lvl3pPr marL="0" indent="0">
              <a:buNone/>
              <a:defRPr/>
            </a:lvl3pPr>
          </a:lstStyle>
          <a:p>
            <a:pPr lvl="0"/>
            <a:r>
              <a:rPr lang="en-US" noProof="0"/>
              <a:t>No.</a:t>
            </a:r>
          </a:p>
          <a:p>
            <a:pPr lvl="1"/>
            <a:r>
              <a:rPr lang="en-US" noProof="0"/>
              <a:t>Chapter</a:t>
            </a:r>
          </a:p>
          <a:p>
            <a:pPr lvl="2"/>
            <a:r>
              <a:rPr lang="en-US" noProof="0"/>
              <a:t>Topic</a:t>
            </a:r>
          </a:p>
        </p:txBody>
      </p:sp>
      <p:sp>
        <p:nvSpPr>
          <p:cNvPr id="16" name="Chapter 4">
            <a:extLst>
              <a:ext uri="{FF2B5EF4-FFF2-40B4-BE49-F238E27FC236}">
                <a16:creationId xmlns:a16="http://schemas.microsoft.com/office/drawing/2014/main" id="{6AEF1AD1-4DDB-4DBA-8C94-A0DA12F1A03A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27063" y="3862388"/>
            <a:ext cx="2160000" cy="2016000"/>
          </a:xfrm>
        </p:spPr>
        <p:txBody>
          <a:bodyPr lIns="180000" tIns="108000"/>
          <a:lstStyle>
            <a:lvl1pPr>
              <a:lnSpc>
                <a:spcPct val="90000"/>
              </a:lnSpc>
              <a:spcAft>
                <a:spcPts val="1500"/>
              </a:spcAft>
              <a:defRPr sz="7200" b="1"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  <a:lvl2pPr marL="0" indent="0">
              <a:buNone/>
              <a:defRPr b="1"/>
            </a:lvl2pPr>
            <a:lvl3pPr marL="0" indent="0">
              <a:buNone/>
              <a:defRPr/>
            </a:lvl3pPr>
          </a:lstStyle>
          <a:p>
            <a:pPr lvl="0"/>
            <a:r>
              <a:rPr lang="en-US" noProof="0"/>
              <a:t>No.</a:t>
            </a:r>
          </a:p>
          <a:p>
            <a:pPr lvl="1"/>
            <a:r>
              <a:rPr lang="en-US" noProof="0"/>
              <a:t>Chapter</a:t>
            </a:r>
          </a:p>
          <a:p>
            <a:pPr lvl="2"/>
            <a:r>
              <a:rPr lang="en-US" noProof="0"/>
              <a:t>Topic</a:t>
            </a:r>
          </a:p>
        </p:txBody>
      </p:sp>
      <p:sp>
        <p:nvSpPr>
          <p:cNvPr id="17" name="Chapter 5">
            <a:extLst>
              <a:ext uri="{FF2B5EF4-FFF2-40B4-BE49-F238E27FC236}">
                <a16:creationId xmlns:a16="http://schemas.microsoft.com/office/drawing/2014/main" id="{018C79BC-8598-41F5-B6E1-0DB86A5FC94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930732" y="3862388"/>
            <a:ext cx="2160000" cy="2016000"/>
          </a:xfrm>
        </p:spPr>
        <p:txBody>
          <a:bodyPr lIns="180000" tIns="108000"/>
          <a:lstStyle>
            <a:lvl1pPr>
              <a:lnSpc>
                <a:spcPct val="90000"/>
              </a:lnSpc>
              <a:spcAft>
                <a:spcPts val="1500"/>
              </a:spcAft>
              <a:defRPr sz="7200" b="1"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  <a:lvl2pPr marL="0" indent="0">
              <a:buNone/>
              <a:defRPr b="1"/>
            </a:lvl2pPr>
            <a:lvl3pPr marL="0" indent="0">
              <a:buNone/>
              <a:defRPr/>
            </a:lvl3pPr>
          </a:lstStyle>
          <a:p>
            <a:pPr lvl="0"/>
            <a:r>
              <a:rPr lang="en-US" noProof="0"/>
              <a:t>No.</a:t>
            </a:r>
          </a:p>
          <a:p>
            <a:pPr lvl="1"/>
            <a:r>
              <a:rPr lang="en-US" noProof="0"/>
              <a:t>Chapter</a:t>
            </a:r>
          </a:p>
          <a:p>
            <a:pPr lvl="2"/>
            <a:r>
              <a:rPr lang="en-US" noProof="0"/>
              <a:t>Topic</a:t>
            </a:r>
          </a:p>
        </p:txBody>
      </p:sp>
      <p:sp>
        <p:nvSpPr>
          <p:cNvPr id="18" name="Chapter 6">
            <a:extLst>
              <a:ext uri="{FF2B5EF4-FFF2-40B4-BE49-F238E27FC236}">
                <a16:creationId xmlns:a16="http://schemas.microsoft.com/office/drawing/2014/main" id="{92BB5C0A-7CAC-4620-92E5-253BEFF2D66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234400" y="3862388"/>
            <a:ext cx="2160000" cy="2016000"/>
          </a:xfrm>
        </p:spPr>
        <p:txBody>
          <a:bodyPr lIns="180000" tIns="108000"/>
          <a:lstStyle>
            <a:lvl1pPr>
              <a:lnSpc>
                <a:spcPct val="90000"/>
              </a:lnSpc>
              <a:spcAft>
                <a:spcPts val="1500"/>
              </a:spcAft>
              <a:defRPr sz="7200" b="1"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  <a:lvl2pPr marL="0" indent="0">
              <a:buNone/>
              <a:defRPr b="1"/>
            </a:lvl2pPr>
            <a:lvl3pPr marL="0" indent="0">
              <a:buNone/>
              <a:defRPr/>
            </a:lvl3pPr>
          </a:lstStyle>
          <a:p>
            <a:pPr lvl="0"/>
            <a:r>
              <a:rPr lang="en-US" noProof="0"/>
              <a:t>No.</a:t>
            </a:r>
          </a:p>
          <a:p>
            <a:pPr lvl="1"/>
            <a:r>
              <a:rPr lang="en-US" noProof="0"/>
              <a:t>Chapter</a:t>
            </a:r>
          </a:p>
          <a:p>
            <a:pPr lvl="2"/>
            <a:r>
              <a:rPr lang="en-US" noProof="0"/>
              <a:t>Topic</a:t>
            </a:r>
          </a:p>
        </p:txBody>
      </p:sp>
    </p:spTree>
    <p:extLst>
      <p:ext uri="{BB962C8B-B14F-4D97-AF65-F5344CB8AC3E}">
        <p14:creationId xmlns:p14="http://schemas.microsoft.com/office/powerpoint/2010/main" val="317609059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0F0A4C4D-EAF6-4487-9B40-402A183189E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20801265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ee Content color fi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ackground">
            <a:extLst>
              <a:ext uri="{FF2B5EF4-FFF2-40B4-BE49-F238E27FC236}">
                <a16:creationId xmlns:a16="http://schemas.microsoft.com/office/drawing/2014/main" id="{0A44E71F-B859-4008-8A5B-83A328EBFCDD}"/>
              </a:ext>
            </a:extLst>
          </p:cNvPr>
          <p:cNvSpPr/>
          <p:nvPr userDrawn="1"/>
        </p:nvSpPr>
        <p:spPr>
          <a:xfrm>
            <a:off x="0" y="1414800"/>
            <a:ext cx="12191999" cy="475297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ED8BA2A0-402B-4423-B445-CE1431A1C15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33719051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lar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Background">
            <a:extLst>
              <a:ext uri="{FF2B5EF4-FFF2-40B4-BE49-F238E27FC236}">
                <a16:creationId xmlns:a16="http://schemas.microsoft.com/office/drawing/2014/main" id="{A6102796-3A6D-4504-AE4D-6DAD764461A5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1414800"/>
            <a:ext cx="12191999" cy="4752975"/>
          </a:xfrm>
        </p:spPr>
        <p:txBody>
          <a:bodyPr lIns="626400" tIns="252000" rIns="144000" bIns="252000"/>
          <a:lstStyle>
            <a:lvl1pPr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C7ACECF9-920E-4760-B49D-8F2920649E5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16963363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ingle large image without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Image">
            <a:extLst>
              <a:ext uri="{FF2B5EF4-FFF2-40B4-BE49-F238E27FC236}">
                <a16:creationId xmlns:a16="http://schemas.microsoft.com/office/drawing/2014/main" id="{A6102796-3A6D-4504-AE4D-6DAD764461A5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1414800"/>
            <a:ext cx="12192000" cy="5443199"/>
          </a:xfrm>
        </p:spPr>
        <p:txBody>
          <a:bodyPr lIns="626400" tIns="252000" rIns="144000" bIns="252000"/>
          <a:lstStyle>
            <a:lvl1pPr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BD694A34-C7CA-48AB-8D23-B8EABFB0888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67695391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picture 2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phic">
            <a:extLst>
              <a:ext uri="{FF2B5EF4-FFF2-40B4-BE49-F238E27FC236}">
                <a16:creationId xmlns:a16="http://schemas.microsoft.com/office/drawing/2014/main" id="{6FE31343-DBA1-4E1C-B310-3652C708DBC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l="17845" t="23917" r="40484" b="34416"/>
          <a:stretch/>
        </p:blipFill>
        <p:spPr bwMode="invGray">
          <a:xfrm>
            <a:off x="0" y="636"/>
            <a:ext cx="12193200" cy="6858000"/>
          </a:xfrm>
          <a:prstGeom prst="rect">
            <a:avLst/>
          </a:prstGeom>
        </p:spPr>
      </p:pic>
      <p:sp>
        <p:nvSpPr>
          <p:cNvPr id="2" name="Title">
            <a:extLst>
              <a:ext uri="{FF2B5EF4-FFF2-40B4-BE49-F238E27FC236}">
                <a16:creationId xmlns:a16="http://schemas.microsoft.com/office/drawing/2014/main" id="{4D270123-9201-40C9-8724-1647E9A0C8F8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627062" y="1414800"/>
            <a:ext cx="5614988" cy="3114000"/>
          </a:xfrm>
        </p:spPr>
        <p:txBody>
          <a:bodyPr lIns="0" tIns="0" bIns="0" anchor="b"/>
          <a:lstStyle>
            <a:lvl1pPr algn="l">
              <a:defRPr sz="44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Subtitle">
            <a:extLst>
              <a:ext uri="{FF2B5EF4-FFF2-40B4-BE49-F238E27FC236}">
                <a16:creationId xmlns:a16="http://schemas.microsoft.com/office/drawing/2014/main" id="{6800291B-8951-48A6-AA08-05DDABDCE8A0}"/>
              </a:ext>
            </a:extLst>
          </p:cNvPr>
          <p:cNvSpPr>
            <a:spLocks noGrp="1"/>
          </p:cNvSpPr>
          <p:nvPr userDrawn="1">
            <p:ph type="subTitle" idx="1" hasCustomPrompt="1"/>
          </p:nvPr>
        </p:nvSpPr>
        <p:spPr>
          <a:xfrm>
            <a:off x="627064" y="4528800"/>
            <a:ext cx="5614986" cy="899252"/>
          </a:xfrm>
        </p:spPr>
        <p:txBody>
          <a:bodyPr lIns="0" tIns="108000" anchor="t">
            <a:noAutofit/>
          </a:bodyPr>
          <a:lstStyle>
            <a:lvl1pPr marL="0" indent="0" algn="l">
              <a:buNone/>
              <a:defRPr sz="15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Presenter of presentation,</a:t>
            </a:r>
            <a:br>
              <a:rPr lang="en-US"/>
            </a:br>
            <a:r>
              <a:rPr lang="en-US"/>
              <a:t>English, Month 2020</a:t>
            </a:r>
          </a:p>
        </p:txBody>
      </p:sp>
      <p:sp>
        <p:nvSpPr>
          <p:cNvPr id="20" name="Copyright">
            <a:extLst>
              <a:ext uri="{FF2B5EF4-FFF2-40B4-BE49-F238E27FC236}">
                <a16:creationId xmlns:a16="http://schemas.microsoft.com/office/drawing/2014/main" id="{D9F34F5F-2345-489B-AB7D-E407430D36F8}"/>
              </a:ext>
            </a:extLst>
          </p:cNvPr>
          <p:cNvSpPr txBox="1"/>
          <p:nvPr userDrawn="1"/>
        </p:nvSpPr>
        <p:spPr>
          <a:xfrm>
            <a:off x="6242050" y="6526800"/>
            <a:ext cx="5949950" cy="331200"/>
          </a:xfrm>
          <a:prstGeom prst="rect">
            <a:avLst/>
          </a:prstGeom>
          <a:noFill/>
        </p:spPr>
        <p:txBody>
          <a:bodyPr wrap="square" lIns="626400" tIns="0" rIns="482400" bIns="0" rtlCol="0">
            <a:noAutofit/>
          </a:bodyPr>
          <a:lstStyle/>
          <a:p>
            <a:pPr algn="r"/>
            <a:r>
              <a:rPr lang="en-US" sz="1000" b="0" noProof="0">
                <a:solidFill>
                  <a:schemeClr val="tx1"/>
                </a:solidFill>
              </a:rPr>
              <a:t>Unrestricted © Siemens Energy, 2021</a:t>
            </a:r>
          </a:p>
        </p:txBody>
      </p:sp>
      <p:sp>
        <p:nvSpPr>
          <p:cNvPr id="9" name="License statement">
            <a:extLst>
              <a:ext uri="{FF2B5EF4-FFF2-40B4-BE49-F238E27FC236}">
                <a16:creationId xmlns:a16="http://schemas.microsoft.com/office/drawing/2014/main" id="{76370656-D639-4E4F-858E-95D5F039AB42}"/>
              </a:ext>
            </a:extLst>
          </p:cNvPr>
          <p:cNvSpPr txBox="1"/>
          <p:nvPr userDrawn="1"/>
        </p:nvSpPr>
        <p:spPr>
          <a:xfrm>
            <a:off x="627063" y="6526800"/>
            <a:ext cx="5468936" cy="331200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algn="l"/>
            <a:r>
              <a:rPr lang="en-US" sz="1000" b="0" noProof="0">
                <a:solidFill>
                  <a:schemeClr val="accent6"/>
                </a:solidFill>
              </a:rPr>
              <a:t>Siemens Energy is a registered trademark licensed by Siemens AG.</a:t>
            </a:r>
          </a:p>
        </p:txBody>
      </p:sp>
      <p:pic>
        <p:nvPicPr>
          <p:cNvPr id="11" name="Logo">
            <a:extLst>
              <a:ext uri="{FF2B5EF4-FFF2-40B4-BE49-F238E27FC236}">
                <a16:creationId xmlns:a16="http://schemas.microsoft.com/office/drawing/2014/main" id="{25CE1A5C-9916-4F19-AAA4-EDA02A87A1BA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rcRect/>
          <a:stretch/>
        </p:blipFill>
        <p:spPr bwMode="black">
          <a:xfrm>
            <a:off x="10274163" y="468926"/>
            <a:ext cx="1440000" cy="4968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5184185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bleed image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Image">
            <a:extLst>
              <a:ext uri="{FF2B5EF4-FFF2-40B4-BE49-F238E27FC236}">
                <a16:creationId xmlns:a16="http://schemas.microsoft.com/office/drawing/2014/main" id="{A6102796-3A6D-4504-AE4D-6DAD764461A5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858000"/>
          </a:xfrm>
          <a:solidFill>
            <a:schemeClr val="accent6"/>
          </a:solidFill>
        </p:spPr>
        <p:txBody>
          <a:bodyPr lIns="626400" tIns="234000" rIns="482400" bIns="626400" anchor="b" anchorCtr="0"/>
          <a:lstStyle>
            <a:lvl1pPr algn="r">
              <a:defRPr/>
            </a:lvl1pPr>
          </a:lstStyle>
          <a:p>
            <a:r>
              <a:rPr lang="en-US"/>
              <a:t>Click on the icon to add a </a:t>
            </a:r>
            <a:br>
              <a:rPr lang="en-US"/>
            </a:br>
            <a:r>
              <a:rPr lang="en-US"/>
              <a:t>sufficiently high-contrast image </a:t>
            </a:r>
            <a:br>
              <a:rPr lang="en-US"/>
            </a:br>
            <a:r>
              <a:rPr lang="en-US"/>
              <a:t>so that the heading is easy to read.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A0C12949-F421-4D93-A5FF-4A495FF402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551681413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g statemen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Image">
            <a:extLst>
              <a:ext uri="{FF2B5EF4-FFF2-40B4-BE49-F238E27FC236}">
                <a16:creationId xmlns:a16="http://schemas.microsoft.com/office/drawing/2014/main" id="{A6102796-3A6D-4504-AE4D-6DAD764461A5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858000"/>
          </a:xfrm>
          <a:solidFill>
            <a:schemeClr val="accent6"/>
          </a:solidFill>
        </p:spPr>
        <p:txBody>
          <a:bodyPr lIns="626400" tIns="234000" rIns="482400" bIns="626400" anchor="b" anchorCtr="0"/>
          <a:lstStyle>
            <a:lvl1pPr algn="r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on the icon to add a </a:t>
            </a:r>
            <a:br>
              <a:rPr lang="en-US"/>
            </a:br>
            <a:r>
              <a:rPr lang="en-US"/>
              <a:t>sufficiently high-contrast image </a:t>
            </a:r>
            <a:br>
              <a:rPr lang="en-US"/>
            </a:br>
            <a:r>
              <a:rPr lang="en-US"/>
              <a:t>so that the heading is easy to read.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B7679BF-476B-4936-B87E-CF0BADD38D6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50" y="4798"/>
            <a:ext cx="6235700" cy="5873715"/>
          </a:xfrm>
          <a:noFill/>
        </p:spPr>
        <p:txBody>
          <a:bodyPr lIns="626400" tIns="900000" rIns="0" bIns="0" anchor="t"/>
          <a:lstStyle>
            <a:lvl1pPr algn="l">
              <a:defRPr sz="4400">
                <a:solidFill>
                  <a:schemeClr val="tx1"/>
                </a:solidFill>
              </a:defRPr>
            </a:lvl1pPr>
          </a:lstStyle>
          <a:p>
            <a:r>
              <a:rPr lang="en-US"/>
              <a:t>Big statement on a full size pictur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419353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object (lar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C396FC1D-DB7A-4E51-83A7-D7995F9EE98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py">
            <a:extLst>
              <a:ext uri="{FF2B5EF4-FFF2-40B4-BE49-F238E27FC236}">
                <a16:creationId xmlns:a16="http://schemas.microsoft.com/office/drawing/2014/main" id="{B1D90D2F-1E41-4D9A-A464-3F2D94D5000C}"/>
              </a:ext>
            </a:extLst>
          </p:cNvPr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9688422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object (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3A07FC25-F4AA-44AB-A199-BEA168878E6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py">
            <a:extLst>
              <a:ext uri="{FF2B5EF4-FFF2-40B4-BE49-F238E27FC236}">
                <a16:creationId xmlns:a16="http://schemas.microsoft.com/office/drawing/2014/main" id="{B1D90D2F-1E41-4D9A-A464-3F2D94D5000C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27063" y="1414800"/>
            <a:ext cx="6912000" cy="47529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700920190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object (small) with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3A07FC25-F4AA-44AB-A199-BEA168878E6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py">
            <a:extLst>
              <a:ext uri="{FF2B5EF4-FFF2-40B4-BE49-F238E27FC236}">
                <a16:creationId xmlns:a16="http://schemas.microsoft.com/office/drawing/2014/main" id="{B1D90D2F-1E41-4D9A-A464-3F2D94D5000C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27063" y="1414800"/>
            <a:ext cx="6912000" cy="47529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4" name="License statement">
            <a:extLst>
              <a:ext uri="{FF2B5EF4-FFF2-40B4-BE49-F238E27FC236}">
                <a16:creationId xmlns:a16="http://schemas.microsoft.com/office/drawing/2014/main" id="{8A8BFD76-D6D8-4CF7-9953-B1C9C522963C}"/>
              </a:ext>
            </a:extLst>
          </p:cNvPr>
          <p:cNvSpPr txBox="1"/>
          <p:nvPr userDrawn="1"/>
        </p:nvSpPr>
        <p:spPr>
          <a:xfrm>
            <a:off x="1692000" y="6526800"/>
            <a:ext cx="4402800" cy="331200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algn="l"/>
            <a:r>
              <a:rPr lang="en-US" sz="1000" b="0" noProof="0">
                <a:solidFill>
                  <a:schemeClr val="accent6"/>
                </a:solidFill>
              </a:rPr>
              <a:t>Siemens Energy is a registered trademark licensed by Siemens AG.</a:t>
            </a:r>
          </a:p>
        </p:txBody>
      </p:sp>
      <p:pic>
        <p:nvPicPr>
          <p:cNvPr id="5" name="Logo">
            <a:extLst>
              <a:ext uri="{FF2B5EF4-FFF2-40B4-BE49-F238E27FC236}">
                <a16:creationId xmlns:a16="http://schemas.microsoft.com/office/drawing/2014/main" id="{4DD39686-C426-4B02-B953-AC0AC4016A3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 bwMode="black">
          <a:xfrm>
            <a:off x="10274163" y="468926"/>
            <a:ext cx="1439999" cy="4968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11969606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053AF9F3-C036-494E-93A9-EEB85375F3D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py 1">
            <a:extLst>
              <a:ext uri="{FF2B5EF4-FFF2-40B4-BE49-F238E27FC236}">
                <a16:creationId xmlns:a16="http://schemas.microsoft.com/office/drawing/2014/main" id="{B1D90D2F-1E41-4D9A-A464-3F2D94D5000C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27064" y="1414800"/>
            <a:ext cx="5472112" cy="47529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7" name="Copy 2">
            <a:extLst>
              <a:ext uri="{FF2B5EF4-FFF2-40B4-BE49-F238E27FC236}">
                <a16:creationId xmlns:a16="http://schemas.microsoft.com/office/drawing/2014/main" id="{CF25AA35-A10D-4021-80D5-F4E01F03217D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6242048" y="1414800"/>
            <a:ext cx="5472000" cy="47529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784527233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, two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06F8B4D2-6F05-469C-8BE4-52BAC6D34B3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py">
            <a:extLst>
              <a:ext uri="{FF2B5EF4-FFF2-40B4-BE49-F238E27FC236}">
                <a16:creationId xmlns:a16="http://schemas.microsoft.com/office/drawing/2014/main" id="{B1D90D2F-1E41-4D9A-A464-3F2D94D5000C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27064" y="1414800"/>
            <a:ext cx="5472000" cy="47529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Image 1">
            <a:extLst>
              <a:ext uri="{FF2B5EF4-FFF2-40B4-BE49-F238E27FC236}">
                <a16:creationId xmlns:a16="http://schemas.microsoft.com/office/drawing/2014/main" id="{1F47DA09-C1B9-4F79-811C-47680DD13F06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6242049" y="1414800"/>
            <a:ext cx="5472000" cy="2305049"/>
          </a:xfrm>
        </p:spPr>
        <p:txBody>
          <a:bodyPr lIns="144000" tIns="144000" rIns="144000" bIns="144000"/>
          <a:lstStyle>
            <a:lvl1pPr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8" name="Image 2">
            <a:extLst>
              <a:ext uri="{FF2B5EF4-FFF2-40B4-BE49-F238E27FC236}">
                <a16:creationId xmlns:a16="http://schemas.microsoft.com/office/drawing/2014/main" id="{B62DCAC0-0A0A-4FD1-9E6A-DFB48F5EAA12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6242049" y="3862725"/>
            <a:ext cx="5472000" cy="2305050"/>
          </a:xfrm>
        </p:spPr>
        <p:txBody>
          <a:bodyPr lIns="144000" tIns="144000" rIns="144000" bIns="144000" anchor="b" anchorCtr="0"/>
          <a:lstStyle>
            <a:lvl1pPr>
              <a:defRPr/>
            </a:lvl1pPr>
          </a:lstStyle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501163186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, two images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68888810-CDD3-4B31-A4AB-CEA6DE3D171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py">
            <a:extLst>
              <a:ext uri="{FF2B5EF4-FFF2-40B4-BE49-F238E27FC236}">
                <a16:creationId xmlns:a16="http://schemas.microsoft.com/office/drawing/2014/main" id="{B1D90D2F-1E41-4D9A-A464-3F2D94D5000C}"/>
              </a:ext>
            </a:extLst>
          </p:cNvPr>
          <p:cNvSpPr>
            <a:spLocks noGrp="1"/>
          </p:cNvSpPr>
          <p:nvPr>
            <p:ph idx="1" hasCustomPrompt="1"/>
          </p:nvPr>
        </p:nvSpPr>
        <p:spPr bwMode="ltGray">
          <a:xfrm>
            <a:off x="0" y="1414800"/>
            <a:ext cx="6099176" cy="4752975"/>
          </a:xfrm>
          <a:gradFill>
            <a:gsLst>
              <a:gs pos="0">
                <a:schemeClr val="accent2"/>
              </a:gs>
              <a:gs pos="70000">
                <a:schemeClr val="tx2"/>
              </a:gs>
            </a:gsLst>
            <a:lin ang="13500000" scaled="1"/>
          </a:gradFill>
        </p:spPr>
        <p:txBody>
          <a:bodyPr lIns="626400" tIns="252000" rIns="144000" bIns="252000"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Image 1">
            <a:extLst>
              <a:ext uri="{FF2B5EF4-FFF2-40B4-BE49-F238E27FC236}">
                <a16:creationId xmlns:a16="http://schemas.microsoft.com/office/drawing/2014/main" id="{1F47DA09-C1B9-4F79-811C-47680DD13F06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6242050" y="1414800"/>
            <a:ext cx="5949950" cy="2305049"/>
          </a:xfrm>
        </p:spPr>
        <p:txBody>
          <a:bodyPr lIns="144000" tIns="144000" rIns="144000" bIns="144000"/>
          <a:lstStyle>
            <a:lvl1pPr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8" name="Image 2">
            <a:extLst>
              <a:ext uri="{FF2B5EF4-FFF2-40B4-BE49-F238E27FC236}">
                <a16:creationId xmlns:a16="http://schemas.microsoft.com/office/drawing/2014/main" id="{B62DCAC0-0A0A-4FD1-9E6A-DFB48F5EAA12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6242050" y="3862725"/>
            <a:ext cx="5949950" cy="2305050"/>
          </a:xfrm>
        </p:spPr>
        <p:txBody>
          <a:bodyPr lIns="144000" tIns="144000" rIns="144000" bIns="144000" anchor="b" anchorCtr="0"/>
          <a:lstStyle>
            <a:lvl1pPr>
              <a:defRPr/>
            </a:lvl1pPr>
          </a:lstStyle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464954078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row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C7ECFA6D-1332-4048-BA8C-6F8F3DE9B02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py 1">
            <a:extLst>
              <a:ext uri="{FF2B5EF4-FFF2-40B4-BE49-F238E27FC236}">
                <a16:creationId xmlns:a16="http://schemas.microsoft.com/office/drawing/2014/main" id="{B1D90D2F-1E41-4D9A-A464-3F2D94D5000C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-1" y="1414800"/>
            <a:ext cx="8834437" cy="2305050"/>
          </a:xfrm>
        </p:spPr>
        <p:txBody>
          <a:bodyPr lIns="626400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7" name="Copy 2">
            <a:extLst>
              <a:ext uri="{FF2B5EF4-FFF2-40B4-BE49-F238E27FC236}">
                <a16:creationId xmlns:a16="http://schemas.microsoft.com/office/drawing/2014/main" id="{CF25AA35-A10D-4021-80D5-F4E01F03217D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1" y="3862800"/>
            <a:ext cx="8834437" cy="2305049"/>
          </a:xfrm>
        </p:spPr>
        <p:txBody>
          <a:bodyPr lIns="626400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853565542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0A4DED40-DA39-4014-8DEE-94AA5379A75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py 1">
            <a:extLst>
              <a:ext uri="{FF2B5EF4-FFF2-40B4-BE49-F238E27FC236}">
                <a16:creationId xmlns:a16="http://schemas.microsoft.com/office/drawing/2014/main" id="{B1D90D2F-1E41-4D9A-A464-3F2D94D5000C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27064" y="1414800"/>
            <a:ext cx="3600000" cy="4752974"/>
          </a:xfrm>
        </p:spPr>
        <p:txBody>
          <a:bodyPr lIns="0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7" name="Copy 2">
            <a:extLst>
              <a:ext uri="{FF2B5EF4-FFF2-40B4-BE49-F238E27FC236}">
                <a16:creationId xmlns:a16="http://schemas.microsoft.com/office/drawing/2014/main" id="{CF25AA35-A10D-4021-80D5-F4E01F03217D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4370614" y="1414800"/>
            <a:ext cx="3600000" cy="4752974"/>
          </a:xfrm>
        </p:spPr>
        <p:txBody>
          <a:bodyPr lIns="0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Copy 3">
            <a:extLst>
              <a:ext uri="{FF2B5EF4-FFF2-40B4-BE49-F238E27FC236}">
                <a16:creationId xmlns:a16="http://schemas.microsoft.com/office/drawing/2014/main" id="{7AD2072B-7BD2-4A0D-8491-4973B658502C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8114163" y="1414800"/>
            <a:ext cx="3600000" cy="4752974"/>
          </a:xfrm>
        </p:spPr>
        <p:txBody>
          <a:bodyPr lIns="0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0004845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022" userDrawn="1">
          <p15:clr>
            <a:srgbClr val="009999"/>
          </p15:clr>
        </p15:guide>
        <p15:guide id="2" pos="5112" userDrawn="1">
          <p15:clr>
            <a:srgbClr val="009999"/>
          </p15:clr>
        </p15:guide>
        <p15:guide id="4" pos="2753" userDrawn="1">
          <p15:clr>
            <a:srgbClr val="009999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picture 3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phic">
            <a:extLst>
              <a:ext uri="{FF2B5EF4-FFF2-40B4-BE49-F238E27FC236}">
                <a16:creationId xmlns:a16="http://schemas.microsoft.com/office/drawing/2014/main" id="{6FE31343-DBA1-4E1C-B310-3652C708DBC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l="20183" t="26979" r="38146" b="31354"/>
          <a:stretch/>
        </p:blipFill>
        <p:spPr bwMode="invGray">
          <a:xfrm>
            <a:off x="1358" y="424"/>
            <a:ext cx="12193200" cy="6858000"/>
          </a:xfrm>
          <a:prstGeom prst="rect">
            <a:avLst/>
          </a:prstGeom>
        </p:spPr>
      </p:pic>
      <p:sp>
        <p:nvSpPr>
          <p:cNvPr id="2" name="Title">
            <a:extLst>
              <a:ext uri="{FF2B5EF4-FFF2-40B4-BE49-F238E27FC236}">
                <a16:creationId xmlns:a16="http://schemas.microsoft.com/office/drawing/2014/main" id="{4D270123-9201-40C9-8724-1647E9A0C8F8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627062" y="1414800"/>
            <a:ext cx="5614988" cy="3114000"/>
          </a:xfrm>
        </p:spPr>
        <p:txBody>
          <a:bodyPr lIns="0" tIns="0" bIns="0" anchor="b"/>
          <a:lstStyle>
            <a:lvl1pPr algn="l">
              <a:defRPr sz="44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Subtitle">
            <a:extLst>
              <a:ext uri="{FF2B5EF4-FFF2-40B4-BE49-F238E27FC236}">
                <a16:creationId xmlns:a16="http://schemas.microsoft.com/office/drawing/2014/main" id="{6800291B-8951-48A6-AA08-05DDABDCE8A0}"/>
              </a:ext>
            </a:extLst>
          </p:cNvPr>
          <p:cNvSpPr>
            <a:spLocks noGrp="1"/>
          </p:cNvSpPr>
          <p:nvPr userDrawn="1">
            <p:ph type="subTitle" idx="1" hasCustomPrompt="1"/>
          </p:nvPr>
        </p:nvSpPr>
        <p:spPr>
          <a:xfrm>
            <a:off x="627064" y="4528800"/>
            <a:ext cx="5614986" cy="899252"/>
          </a:xfrm>
        </p:spPr>
        <p:txBody>
          <a:bodyPr lIns="0" tIns="108000" anchor="t">
            <a:noAutofit/>
          </a:bodyPr>
          <a:lstStyle>
            <a:lvl1pPr marL="0" indent="0" algn="l">
              <a:buNone/>
              <a:defRPr sz="15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Presenter of presentation,</a:t>
            </a:r>
            <a:br>
              <a:rPr lang="en-US"/>
            </a:br>
            <a:r>
              <a:rPr lang="en-US"/>
              <a:t>English, Month 2020</a:t>
            </a:r>
          </a:p>
        </p:txBody>
      </p:sp>
      <p:sp>
        <p:nvSpPr>
          <p:cNvPr id="20" name="Copyright">
            <a:extLst>
              <a:ext uri="{FF2B5EF4-FFF2-40B4-BE49-F238E27FC236}">
                <a16:creationId xmlns:a16="http://schemas.microsoft.com/office/drawing/2014/main" id="{D9F34F5F-2345-489B-AB7D-E407430D36F8}"/>
              </a:ext>
            </a:extLst>
          </p:cNvPr>
          <p:cNvSpPr txBox="1"/>
          <p:nvPr userDrawn="1"/>
        </p:nvSpPr>
        <p:spPr>
          <a:xfrm>
            <a:off x="6242050" y="6526800"/>
            <a:ext cx="5949950" cy="331200"/>
          </a:xfrm>
          <a:prstGeom prst="rect">
            <a:avLst/>
          </a:prstGeom>
          <a:noFill/>
        </p:spPr>
        <p:txBody>
          <a:bodyPr wrap="square" lIns="626400" tIns="0" rIns="482400" bIns="0" rtlCol="0">
            <a:noAutofit/>
          </a:bodyPr>
          <a:lstStyle/>
          <a:p>
            <a:pPr algn="r"/>
            <a:r>
              <a:rPr lang="en-US" sz="1000" b="0" noProof="0">
                <a:solidFill>
                  <a:schemeClr val="tx1"/>
                </a:solidFill>
              </a:rPr>
              <a:t>Unrestricted © Siemens Energy, 2021</a:t>
            </a:r>
          </a:p>
        </p:txBody>
      </p:sp>
      <p:sp>
        <p:nvSpPr>
          <p:cNvPr id="9" name="License statement">
            <a:extLst>
              <a:ext uri="{FF2B5EF4-FFF2-40B4-BE49-F238E27FC236}">
                <a16:creationId xmlns:a16="http://schemas.microsoft.com/office/drawing/2014/main" id="{990571EA-906B-4464-A50B-507D49D861B2}"/>
              </a:ext>
            </a:extLst>
          </p:cNvPr>
          <p:cNvSpPr txBox="1"/>
          <p:nvPr userDrawn="1"/>
        </p:nvSpPr>
        <p:spPr>
          <a:xfrm>
            <a:off x="627063" y="6526800"/>
            <a:ext cx="5468936" cy="331200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algn="l"/>
            <a:r>
              <a:rPr lang="en-US" sz="1000" b="0" noProof="0">
                <a:solidFill>
                  <a:schemeClr val="accent6"/>
                </a:solidFill>
              </a:rPr>
              <a:t>Siemens Energy is a registered trademark licensed by Siemens AG.</a:t>
            </a:r>
          </a:p>
        </p:txBody>
      </p:sp>
      <p:pic>
        <p:nvPicPr>
          <p:cNvPr id="11" name="Logo">
            <a:extLst>
              <a:ext uri="{FF2B5EF4-FFF2-40B4-BE49-F238E27FC236}">
                <a16:creationId xmlns:a16="http://schemas.microsoft.com/office/drawing/2014/main" id="{BB81BE19-DE56-4F9F-AB66-D4BBF7C27085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rcRect/>
          <a:stretch/>
        </p:blipFill>
        <p:spPr bwMode="black">
          <a:xfrm>
            <a:off x="10274163" y="468926"/>
            <a:ext cx="1440000" cy="4968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7565238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s, three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7E041062-6E58-45A3-B6A1-92507B394BA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py 1">
            <a:extLst>
              <a:ext uri="{FF2B5EF4-FFF2-40B4-BE49-F238E27FC236}">
                <a16:creationId xmlns:a16="http://schemas.microsoft.com/office/drawing/2014/main" id="{B1D90D2F-1E41-4D9A-A464-3F2D94D5000C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27064" y="1701798"/>
            <a:ext cx="3600000" cy="1584000"/>
          </a:xfrm>
        </p:spPr>
        <p:txBody>
          <a:bodyPr lIns="0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7" name="Copy 2">
            <a:extLst>
              <a:ext uri="{FF2B5EF4-FFF2-40B4-BE49-F238E27FC236}">
                <a16:creationId xmlns:a16="http://schemas.microsoft.com/office/drawing/2014/main" id="{CF25AA35-A10D-4021-80D5-F4E01F03217D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4370614" y="1701798"/>
            <a:ext cx="3600000" cy="1584000"/>
          </a:xfrm>
        </p:spPr>
        <p:txBody>
          <a:bodyPr lIns="0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Copy 3">
            <a:extLst>
              <a:ext uri="{FF2B5EF4-FFF2-40B4-BE49-F238E27FC236}">
                <a16:creationId xmlns:a16="http://schemas.microsoft.com/office/drawing/2014/main" id="{7AD2072B-7BD2-4A0D-8491-4973B658502C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8114163" y="1701798"/>
            <a:ext cx="3600000" cy="1584000"/>
          </a:xfrm>
        </p:spPr>
        <p:txBody>
          <a:bodyPr lIns="0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0" name="Image 1">
            <a:extLst>
              <a:ext uri="{FF2B5EF4-FFF2-40B4-BE49-F238E27FC236}">
                <a16:creationId xmlns:a16="http://schemas.microsoft.com/office/drawing/2014/main" id="{D7FB36E4-9D48-40F9-8766-C9A9EB707245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27064" y="3285275"/>
            <a:ext cx="3600000" cy="2593238"/>
          </a:xfrm>
        </p:spPr>
        <p:txBody>
          <a:bodyPr lIns="144000" tIns="144000" rIns="144000" bIns="144000"/>
          <a:lstStyle>
            <a:lvl1pPr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2" name="Image 2">
            <a:extLst>
              <a:ext uri="{FF2B5EF4-FFF2-40B4-BE49-F238E27FC236}">
                <a16:creationId xmlns:a16="http://schemas.microsoft.com/office/drawing/2014/main" id="{DB7AA95A-85B0-4FB5-A5A1-EA4243663C9F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4370614" y="3285275"/>
            <a:ext cx="3600000" cy="2593238"/>
          </a:xfrm>
        </p:spPr>
        <p:txBody>
          <a:bodyPr lIns="144000" tIns="144000" rIns="144000" bIns="144000"/>
          <a:lstStyle>
            <a:lvl1pPr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3" name="Image 3">
            <a:extLst>
              <a:ext uri="{FF2B5EF4-FFF2-40B4-BE49-F238E27FC236}">
                <a16:creationId xmlns:a16="http://schemas.microsoft.com/office/drawing/2014/main" id="{5530F297-3088-4E70-982A-604343177BD6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8114163" y="3285275"/>
            <a:ext cx="3600000" cy="2593238"/>
          </a:xfrm>
        </p:spPr>
        <p:txBody>
          <a:bodyPr lIns="144000" tIns="144000" rIns="144000" bIns="144000"/>
          <a:lstStyle>
            <a:lvl1pPr>
              <a:defRPr/>
            </a:lvl1pPr>
          </a:lstStyle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2690496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022" userDrawn="1">
          <p15:clr>
            <a:srgbClr val="009999"/>
          </p15:clr>
        </p15:guide>
        <p15:guide id="2" pos="5112" userDrawn="1">
          <p15:clr>
            <a:srgbClr val="009999"/>
          </p15:clr>
        </p15:guide>
        <p15:guide id="4" pos="2753" userDrawn="1">
          <p15:clr>
            <a:srgbClr val="009999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obje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80AC4C64-3556-4D13-9B77-531CC35C59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py 1">
            <a:extLst>
              <a:ext uri="{FF2B5EF4-FFF2-40B4-BE49-F238E27FC236}">
                <a16:creationId xmlns:a16="http://schemas.microsoft.com/office/drawing/2014/main" id="{B1D90D2F-1E41-4D9A-A464-3F2D94D5000C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27064" y="1414800"/>
            <a:ext cx="5472000" cy="2305049"/>
          </a:xfrm>
        </p:spPr>
        <p:txBody>
          <a:bodyPr lIns="0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7" name="Copy 2">
            <a:extLst>
              <a:ext uri="{FF2B5EF4-FFF2-40B4-BE49-F238E27FC236}">
                <a16:creationId xmlns:a16="http://schemas.microsoft.com/office/drawing/2014/main" id="{CF25AA35-A10D-4021-80D5-F4E01F03217D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6242050" y="1414800"/>
            <a:ext cx="5472000" cy="2305049"/>
          </a:xfrm>
        </p:spPr>
        <p:txBody>
          <a:bodyPr lIns="0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Copy 3">
            <a:extLst>
              <a:ext uri="{FF2B5EF4-FFF2-40B4-BE49-F238E27FC236}">
                <a16:creationId xmlns:a16="http://schemas.microsoft.com/office/drawing/2014/main" id="{7AD2072B-7BD2-4A0D-8491-4973B658502C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627063" y="3862388"/>
            <a:ext cx="5472112" cy="2305049"/>
          </a:xfrm>
        </p:spPr>
        <p:txBody>
          <a:bodyPr lIns="0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Copy 4">
            <a:extLst>
              <a:ext uri="{FF2B5EF4-FFF2-40B4-BE49-F238E27FC236}">
                <a16:creationId xmlns:a16="http://schemas.microsoft.com/office/drawing/2014/main" id="{5ABA1728-CE60-4862-A32A-3E1550DB8104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6242050" y="3862388"/>
            <a:ext cx="5472000" cy="2305049"/>
          </a:xfrm>
        </p:spPr>
        <p:txBody>
          <a:bodyPr lIns="0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76833472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bleed color area 1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ackground">
            <a:extLst>
              <a:ext uri="{FF2B5EF4-FFF2-40B4-BE49-F238E27FC236}">
                <a16:creationId xmlns:a16="http://schemas.microsoft.com/office/drawing/2014/main" id="{AC9B5110-BC98-411C-9BCB-2AFF35E6D93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invGray">
          <a:xfrm>
            <a:off x="0" y="428"/>
            <a:ext cx="12191999" cy="6857143"/>
          </a:xfrm>
          <a:prstGeom prst="rect">
            <a:avLst/>
          </a:prstGeom>
        </p:spPr>
      </p:pic>
      <p:sp>
        <p:nvSpPr>
          <p:cNvPr id="3" name="Title">
            <a:extLst>
              <a:ext uri="{FF2B5EF4-FFF2-40B4-BE49-F238E27FC236}">
                <a16:creationId xmlns:a16="http://schemas.microsoft.com/office/drawing/2014/main" id="{E588B75F-B996-4586-B62B-613544F213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Author | Department">
            <a:extLst>
              <a:ext uri="{FF2B5EF4-FFF2-40B4-BE49-F238E27FC236}">
                <a16:creationId xmlns:a16="http://schemas.microsoft.com/office/drawing/2014/main" id="{AF33B1C0-2E11-42BC-A97B-DF29BD3B97B8}"/>
              </a:ext>
            </a:extLst>
          </p:cNvPr>
          <p:cNvSpPr txBox="1"/>
          <p:nvPr userDrawn="1"/>
        </p:nvSpPr>
        <p:spPr>
          <a:xfrm>
            <a:off x="6242050" y="6166800"/>
            <a:ext cx="5949950" cy="360000"/>
          </a:xfrm>
          <a:prstGeom prst="rect">
            <a:avLst/>
          </a:prstGeom>
          <a:noFill/>
        </p:spPr>
        <p:txBody>
          <a:bodyPr wrap="square" lIns="0" tIns="0" rIns="835200" bIns="36000" rtlCol="0" anchor="b">
            <a:noAutofit/>
          </a:bodyPr>
          <a:lstStyle/>
          <a:p>
            <a:pPr algn="r"/>
            <a:r>
              <a:rPr lang="en-US" sz="1000" b="0" noProof="0">
                <a:solidFill>
                  <a:schemeClr val="tx1"/>
                </a:solidFill>
              </a:rPr>
              <a:t>Author | Department</a:t>
            </a:r>
          </a:p>
        </p:txBody>
      </p:sp>
      <p:sp>
        <p:nvSpPr>
          <p:cNvPr id="17" name="Copyright">
            <a:extLst>
              <a:ext uri="{FF2B5EF4-FFF2-40B4-BE49-F238E27FC236}">
                <a16:creationId xmlns:a16="http://schemas.microsoft.com/office/drawing/2014/main" id="{C6BE5120-1513-4265-A6B3-3B42254A34FF}"/>
              </a:ext>
            </a:extLst>
          </p:cNvPr>
          <p:cNvSpPr txBox="1"/>
          <p:nvPr userDrawn="1"/>
        </p:nvSpPr>
        <p:spPr>
          <a:xfrm>
            <a:off x="6242050" y="6526800"/>
            <a:ext cx="5949950" cy="331200"/>
          </a:xfrm>
          <a:prstGeom prst="rect">
            <a:avLst/>
          </a:prstGeom>
          <a:noFill/>
        </p:spPr>
        <p:txBody>
          <a:bodyPr wrap="square" lIns="626400" tIns="0" rIns="482400" bIns="0" rtlCol="0" anchor="t">
            <a:noAutofit/>
          </a:bodyPr>
          <a:lstStyle/>
          <a:p>
            <a:pPr algn="r"/>
            <a:r>
              <a:rPr lang="en-US" sz="1000" b="0" noProof="0">
                <a:solidFill>
                  <a:schemeClr val="tx1"/>
                </a:solidFill>
              </a:rPr>
              <a:t>Unrestricted © Siemens Energy, 2021</a:t>
            </a:r>
          </a:p>
        </p:txBody>
      </p:sp>
      <p:sp>
        <p:nvSpPr>
          <p:cNvPr id="18" name="Page">
            <a:extLst>
              <a:ext uri="{FF2B5EF4-FFF2-40B4-BE49-F238E27FC236}">
                <a16:creationId xmlns:a16="http://schemas.microsoft.com/office/drawing/2014/main" id="{0A81FD87-E05D-463F-95C1-4A49C99D181A}"/>
              </a:ext>
            </a:extLst>
          </p:cNvPr>
          <p:cNvSpPr txBox="1"/>
          <p:nvPr userDrawn="1"/>
        </p:nvSpPr>
        <p:spPr>
          <a:xfrm>
            <a:off x="11364000" y="6166800"/>
            <a:ext cx="828000" cy="360000"/>
          </a:xfrm>
          <a:prstGeom prst="rect">
            <a:avLst/>
          </a:prstGeom>
          <a:noFill/>
        </p:spPr>
        <p:txBody>
          <a:bodyPr wrap="square" lIns="0" tIns="0" rIns="482400" bIns="36000" rtlCol="0" anchor="b">
            <a:noAutofit/>
          </a:bodyPr>
          <a:lstStyle/>
          <a:p>
            <a:pPr algn="r"/>
            <a:fld id="{6F7EFBA6-8CEB-40F4-B709-F27F7004ACFC}" type="slidenum">
              <a:rPr lang="en-US" sz="1000" b="1" noProof="0" smtClean="0">
                <a:solidFill>
                  <a:schemeClr val="tx1"/>
                </a:solidFill>
              </a:rPr>
              <a:t>‹Nr.›</a:t>
            </a:fld>
            <a:endParaRPr lang="en-US" sz="1000" b="1" noProof="0">
              <a:solidFill>
                <a:schemeClr val="tx1"/>
              </a:solidFill>
            </a:endParaRPr>
          </a:p>
        </p:txBody>
      </p:sp>
      <p:sp>
        <p:nvSpPr>
          <p:cNvPr id="10" name="Date">
            <a:extLst>
              <a:ext uri="{FF2B5EF4-FFF2-40B4-BE49-F238E27FC236}">
                <a16:creationId xmlns:a16="http://schemas.microsoft.com/office/drawing/2014/main" id="{F4621446-925E-4A5C-BB97-799E6B8386D9}"/>
              </a:ext>
            </a:extLst>
          </p:cNvPr>
          <p:cNvSpPr txBox="1"/>
          <p:nvPr userDrawn="1"/>
        </p:nvSpPr>
        <p:spPr>
          <a:xfrm>
            <a:off x="-1" y="6526800"/>
            <a:ext cx="1692000" cy="331200"/>
          </a:xfrm>
          <a:prstGeom prst="rect">
            <a:avLst/>
          </a:prstGeom>
          <a:noFill/>
        </p:spPr>
        <p:txBody>
          <a:bodyPr wrap="square" lIns="626400" tIns="0" rIns="0" bIns="0" rtlCol="0" anchor="t">
            <a:noAutofit/>
          </a:bodyPr>
          <a:lstStyle/>
          <a:p>
            <a:pPr algn="l"/>
            <a:r>
              <a:rPr lang="en-US" sz="1000" b="0" noProof="0">
                <a:solidFill>
                  <a:schemeClr val="tx1"/>
                </a:solidFill>
              </a:rPr>
              <a:t>YYYY-MM-DD</a:t>
            </a:r>
          </a:p>
        </p:txBody>
      </p:sp>
    </p:spTree>
    <p:extLst>
      <p:ext uri="{BB962C8B-B14F-4D97-AF65-F5344CB8AC3E}">
        <p14:creationId xmlns:p14="http://schemas.microsoft.com/office/powerpoint/2010/main" val="135929086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bleed color area 1 (with logo)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ackground">
            <a:extLst>
              <a:ext uri="{FF2B5EF4-FFF2-40B4-BE49-F238E27FC236}">
                <a16:creationId xmlns:a16="http://schemas.microsoft.com/office/drawing/2014/main" id="{AC9B5110-BC98-411C-9BCB-2AFF35E6D93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invGray">
          <a:xfrm>
            <a:off x="0" y="428"/>
            <a:ext cx="12191999" cy="6857143"/>
          </a:xfrm>
          <a:prstGeom prst="rect">
            <a:avLst/>
          </a:prstGeom>
        </p:spPr>
      </p:pic>
      <p:sp>
        <p:nvSpPr>
          <p:cNvPr id="3" name="Title">
            <a:extLst>
              <a:ext uri="{FF2B5EF4-FFF2-40B4-BE49-F238E27FC236}">
                <a16:creationId xmlns:a16="http://schemas.microsoft.com/office/drawing/2014/main" id="{E588B75F-B996-4586-B62B-613544F213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Author | Department">
            <a:extLst>
              <a:ext uri="{FF2B5EF4-FFF2-40B4-BE49-F238E27FC236}">
                <a16:creationId xmlns:a16="http://schemas.microsoft.com/office/drawing/2014/main" id="{AF33B1C0-2E11-42BC-A97B-DF29BD3B97B8}"/>
              </a:ext>
            </a:extLst>
          </p:cNvPr>
          <p:cNvSpPr txBox="1"/>
          <p:nvPr userDrawn="1"/>
        </p:nvSpPr>
        <p:spPr>
          <a:xfrm>
            <a:off x="6242050" y="6166800"/>
            <a:ext cx="5949950" cy="360000"/>
          </a:xfrm>
          <a:prstGeom prst="rect">
            <a:avLst/>
          </a:prstGeom>
          <a:noFill/>
        </p:spPr>
        <p:txBody>
          <a:bodyPr wrap="square" lIns="0" tIns="0" rIns="835200" bIns="36000" rtlCol="0" anchor="b">
            <a:noAutofit/>
          </a:bodyPr>
          <a:lstStyle/>
          <a:p>
            <a:pPr algn="r"/>
            <a:r>
              <a:rPr lang="en-US" sz="1000" b="0" noProof="0">
                <a:solidFill>
                  <a:schemeClr val="tx1"/>
                </a:solidFill>
              </a:rPr>
              <a:t>Author | Department</a:t>
            </a:r>
          </a:p>
        </p:txBody>
      </p:sp>
      <p:sp>
        <p:nvSpPr>
          <p:cNvPr id="17" name="Copyright">
            <a:extLst>
              <a:ext uri="{FF2B5EF4-FFF2-40B4-BE49-F238E27FC236}">
                <a16:creationId xmlns:a16="http://schemas.microsoft.com/office/drawing/2014/main" id="{C6BE5120-1513-4265-A6B3-3B42254A34FF}"/>
              </a:ext>
            </a:extLst>
          </p:cNvPr>
          <p:cNvSpPr txBox="1"/>
          <p:nvPr userDrawn="1"/>
        </p:nvSpPr>
        <p:spPr>
          <a:xfrm>
            <a:off x="6242050" y="6526800"/>
            <a:ext cx="5949950" cy="331200"/>
          </a:xfrm>
          <a:prstGeom prst="rect">
            <a:avLst/>
          </a:prstGeom>
          <a:noFill/>
        </p:spPr>
        <p:txBody>
          <a:bodyPr wrap="square" lIns="626400" tIns="0" rIns="482400" bIns="0" rtlCol="0" anchor="t">
            <a:noAutofit/>
          </a:bodyPr>
          <a:lstStyle/>
          <a:p>
            <a:pPr algn="r"/>
            <a:r>
              <a:rPr lang="en-US" sz="1000" b="0" noProof="0">
                <a:solidFill>
                  <a:schemeClr val="tx1"/>
                </a:solidFill>
              </a:rPr>
              <a:t>Unrestricted © Siemens Energy, 2021</a:t>
            </a:r>
          </a:p>
        </p:txBody>
      </p:sp>
      <p:sp>
        <p:nvSpPr>
          <p:cNvPr id="18" name="Page">
            <a:extLst>
              <a:ext uri="{FF2B5EF4-FFF2-40B4-BE49-F238E27FC236}">
                <a16:creationId xmlns:a16="http://schemas.microsoft.com/office/drawing/2014/main" id="{0A81FD87-E05D-463F-95C1-4A49C99D181A}"/>
              </a:ext>
            </a:extLst>
          </p:cNvPr>
          <p:cNvSpPr txBox="1"/>
          <p:nvPr userDrawn="1"/>
        </p:nvSpPr>
        <p:spPr>
          <a:xfrm>
            <a:off x="11364000" y="6166800"/>
            <a:ext cx="828000" cy="360000"/>
          </a:xfrm>
          <a:prstGeom prst="rect">
            <a:avLst/>
          </a:prstGeom>
          <a:noFill/>
        </p:spPr>
        <p:txBody>
          <a:bodyPr wrap="square" lIns="0" tIns="0" rIns="482400" bIns="36000" rtlCol="0" anchor="b">
            <a:noAutofit/>
          </a:bodyPr>
          <a:lstStyle/>
          <a:p>
            <a:pPr algn="r"/>
            <a:fld id="{6F7EFBA6-8CEB-40F4-B709-F27F7004ACFC}" type="slidenum">
              <a:rPr lang="en-US" sz="1000" b="1" noProof="0" smtClean="0">
                <a:solidFill>
                  <a:schemeClr val="tx1"/>
                </a:solidFill>
              </a:rPr>
              <a:t>‹Nr.›</a:t>
            </a:fld>
            <a:endParaRPr lang="en-US" sz="1000" b="1" noProof="0">
              <a:solidFill>
                <a:schemeClr val="tx1"/>
              </a:solidFill>
            </a:endParaRPr>
          </a:p>
        </p:txBody>
      </p:sp>
      <p:sp>
        <p:nvSpPr>
          <p:cNvPr id="10" name="Date">
            <a:extLst>
              <a:ext uri="{FF2B5EF4-FFF2-40B4-BE49-F238E27FC236}">
                <a16:creationId xmlns:a16="http://schemas.microsoft.com/office/drawing/2014/main" id="{F4621446-925E-4A5C-BB97-799E6B8386D9}"/>
              </a:ext>
            </a:extLst>
          </p:cNvPr>
          <p:cNvSpPr txBox="1"/>
          <p:nvPr userDrawn="1"/>
        </p:nvSpPr>
        <p:spPr>
          <a:xfrm>
            <a:off x="-1" y="6526800"/>
            <a:ext cx="1692000" cy="331200"/>
          </a:xfrm>
          <a:prstGeom prst="rect">
            <a:avLst/>
          </a:prstGeom>
          <a:noFill/>
        </p:spPr>
        <p:txBody>
          <a:bodyPr wrap="square" lIns="626400" tIns="0" rIns="0" bIns="0" rtlCol="0" anchor="t">
            <a:noAutofit/>
          </a:bodyPr>
          <a:lstStyle/>
          <a:p>
            <a:pPr algn="l"/>
            <a:r>
              <a:rPr lang="en-US" sz="1000" b="0" noProof="0">
                <a:solidFill>
                  <a:schemeClr val="tx1"/>
                </a:solidFill>
              </a:rPr>
              <a:t>YYYY-MM-DD</a:t>
            </a:r>
          </a:p>
        </p:txBody>
      </p:sp>
      <p:pic>
        <p:nvPicPr>
          <p:cNvPr id="8" name="Logo">
            <a:extLst>
              <a:ext uri="{FF2B5EF4-FFF2-40B4-BE49-F238E27FC236}">
                <a16:creationId xmlns:a16="http://schemas.microsoft.com/office/drawing/2014/main" id="{DE1CCC5F-D082-4285-B0D2-D44B0385F457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 bwMode="black">
          <a:xfrm>
            <a:off x="10274163" y="468926"/>
            <a:ext cx="1440000" cy="496808"/>
          </a:xfrm>
          <a:prstGeom prst="rect">
            <a:avLst/>
          </a:prstGeom>
        </p:spPr>
      </p:pic>
      <p:sp>
        <p:nvSpPr>
          <p:cNvPr id="9" name="License statement">
            <a:extLst>
              <a:ext uri="{FF2B5EF4-FFF2-40B4-BE49-F238E27FC236}">
                <a16:creationId xmlns:a16="http://schemas.microsoft.com/office/drawing/2014/main" id="{F7180AC6-B789-4E8E-A386-018ABF4ECC8C}"/>
              </a:ext>
            </a:extLst>
          </p:cNvPr>
          <p:cNvSpPr txBox="1"/>
          <p:nvPr userDrawn="1"/>
        </p:nvSpPr>
        <p:spPr>
          <a:xfrm>
            <a:off x="1692000" y="6526800"/>
            <a:ext cx="4402800" cy="331200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algn="l"/>
            <a:r>
              <a:rPr lang="en-US" sz="1000" b="0" noProof="0">
                <a:solidFill>
                  <a:schemeClr val="accent6"/>
                </a:solidFill>
              </a:rPr>
              <a:t>Siemens Energy is a registered trademark licensed by Siemens AG.</a:t>
            </a:r>
          </a:p>
        </p:txBody>
      </p:sp>
    </p:spTree>
    <p:extLst>
      <p:ext uri="{BB962C8B-B14F-4D97-AF65-F5344CB8AC3E}">
        <p14:creationId xmlns:p14="http://schemas.microsoft.com/office/powerpoint/2010/main" val="333590210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bleed color area 2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ackground">
            <a:extLst>
              <a:ext uri="{FF2B5EF4-FFF2-40B4-BE49-F238E27FC236}">
                <a16:creationId xmlns:a16="http://schemas.microsoft.com/office/drawing/2014/main" id="{3B8F676D-0405-45AE-9B8F-716387B4760E}"/>
              </a:ext>
            </a:extLst>
          </p:cNvPr>
          <p:cNvSpPr/>
          <p:nvPr userDrawn="1"/>
        </p:nvSpPr>
        <p:spPr bwMode="invGray">
          <a:xfrm>
            <a:off x="-2" y="0"/>
            <a:ext cx="12192001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3" name="Title">
            <a:extLst>
              <a:ext uri="{FF2B5EF4-FFF2-40B4-BE49-F238E27FC236}">
                <a16:creationId xmlns:a16="http://schemas.microsoft.com/office/drawing/2014/main" id="{7E256BF8-2AEF-4ECB-8D5E-2926EB0508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7" name="Author | Department">
            <a:extLst>
              <a:ext uri="{FF2B5EF4-FFF2-40B4-BE49-F238E27FC236}">
                <a16:creationId xmlns:a16="http://schemas.microsoft.com/office/drawing/2014/main" id="{CA3F32E1-BC1C-475E-99E6-0E8AF47DA2D2}"/>
              </a:ext>
            </a:extLst>
          </p:cNvPr>
          <p:cNvSpPr txBox="1"/>
          <p:nvPr userDrawn="1"/>
        </p:nvSpPr>
        <p:spPr>
          <a:xfrm>
            <a:off x="6242050" y="6166800"/>
            <a:ext cx="5949950" cy="360000"/>
          </a:xfrm>
          <a:prstGeom prst="rect">
            <a:avLst/>
          </a:prstGeom>
          <a:noFill/>
        </p:spPr>
        <p:txBody>
          <a:bodyPr wrap="square" lIns="0" tIns="0" rIns="835200" bIns="36000" rtlCol="0" anchor="b">
            <a:noAutofit/>
          </a:bodyPr>
          <a:lstStyle/>
          <a:p>
            <a:pPr algn="r"/>
            <a:r>
              <a:rPr lang="en-US" sz="1000" b="0" noProof="0">
                <a:solidFill>
                  <a:schemeClr val="tx1"/>
                </a:solidFill>
              </a:rPr>
              <a:t>Author | Department</a:t>
            </a:r>
          </a:p>
        </p:txBody>
      </p:sp>
      <p:sp>
        <p:nvSpPr>
          <p:cNvPr id="18" name="Copyright">
            <a:extLst>
              <a:ext uri="{FF2B5EF4-FFF2-40B4-BE49-F238E27FC236}">
                <a16:creationId xmlns:a16="http://schemas.microsoft.com/office/drawing/2014/main" id="{39F2375B-D22F-4C21-B117-6F14EB872B3A}"/>
              </a:ext>
            </a:extLst>
          </p:cNvPr>
          <p:cNvSpPr txBox="1"/>
          <p:nvPr userDrawn="1"/>
        </p:nvSpPr>
        <p:spPr>
          <a:xfrm>
            <a:off x="6242050" y="6526800"/>
            <a:ext cx="5949950" cy="331200"/>
          </a:xfrm>
          <a:prstGeom prst="rect">
            <a:avLst/>
          </a:prstGeom>
          <a:noFill/>
        </p:spPr>
        <p:txBody>
          <a:bodyPr wrap="square" lIns="626400" tIns="0" rIns="482400" bIns="0" rtlCol="0" anchor="t">
            <a:noAutofit/>
          </a:bodyPr>
          <a:lstStyle/>
          <a:p>
            <a:pPr algn="r"/>
            <a:r>
              <a:rPr lang="en-US" sz="1000" b="0" noProof="0">
                <a:solidFill>
                  <a:schemeClr val="tx1"/>
                </a:solidFill>
              </a:rPr>
              <a:t>Unrestricted © Siemens Energy, 2021</a:t>
            </a:r>
          </a:p>
        </p:txBody>
      </p:sp>
      <p:sp>
        <p:nvSpPr>
          <p:cNvPr id="19" name="Page">
            <a:extLst>
              <a:ext uri="{FF2B5EF4-FFF2-40B4-BE49-F238E27FC236}">
                <a16:creationId xmlns:a16="http://schemas.microsoft.com/office/drawing/2014/main" id="{DCCDEAC1-13C2-4322-816D-0489681B6D17}"/>
              </a:ext>
            </a:extLst>
          </p:cNvPr>
          <p:cNvSpPr txBox="1"/>
          <p:nvPr userDrawn="1"/>
        </p:nvSpPr>
        <p:spPr>
          <a:xfrm>
            <a:off x="11364000" y="6166800"/>
            <a:ext cx="828000" cy="360000"/>
          </a:xfrm>
          <a:prstGeom prst="rect">
            <a:avLst/>
          </a:prstGeom>
          <a:noFill/>
        </p:spPr>
        <p:txBody>
          <a:bodyPr wrap="square" lIns="0" tIns="0" rIns="482400" bIns="36000" rtlCol="0" anchor="b">
            <a:noAutofit/>
          </a:bodyPr>
          <a:lstStyle/>
          <a:p>
            <a:pPr algn="r"/>
            <a:fld id="{6F7EFBA6-8CEB-40F4-B709-F27F7004ACFC}" type="slidenum">
              <a:rPr lang="en-US" sz="1000" b="1" noProof="0" smtClean="0">
                <a:solidFill>
                  <a:schemeClr val="tx1"/>
                </a:solidFill>
              </a:rPr>
              <a:t>‹Nr.›</a:t>
            </a:fld>
            <a:endParaRPr lang="en-US" sz="1000" b="1" noProof="0">
              <a:solidFill>
                <a:schemeClr val="tx1"/>
              </a:solidFill>
            </a:endParaRPr>
          </a:p>
        </p:txBody>
      </p:sp>
      <p:sp>
        <p:nvSpPr>
          <p:cNvPr id="10" name="Date">
            <a:extLst>
              <a:ext uri="{FF2B5EF4-FFF2-40B4-BE49-F238E27FC236}">
                <a16:creationId xmlns:a16="http://schemas.microsoft.com/office/drawing/2014/main" id="{276739E7-354E-4450-8E41-F018556F4A44}"/>
              </a:ext>
            </a:extLst>
          </p:cNvPr>
          <p:cNvSpPr txBox="1"/>
          <p:nvPr userDrawn="1"/>
        </p:nvSpPr>
        <p:spPr>
          <a:xfrm>
            <a:off x="-1" y="6526800"/>
            <a:ext cx="1692000" cy="331200"/>
          </a:xfrm>
          <a:prstGeom prst="rect">
            <a:avLst/>
          </a:prstGeom>
          <a:noFill/>
        </p:spPr>
        <p:txBody>
          <a:bodyPr wrap="square" lIns="626400" tIns="0" rIns="0" bIns="0" rtlCol="0" anchor="t">
            <a:noAutofit/>
          </a:bodyPr>
          <a:lstStyle/>
          <a:p>
            <a:pPr algn="l"/>
            <a:r>
              <a:rPr lang="en-US" sz="1000" b="0" noProof="0">
                <a:solidFill>
                  <a:schemeClr val="tx1"/>
                </a:solidFill>
              </a:rPr>
              <a:t>YYYY-MM-DD</a:t>
            </a:r>
          </a:p>
        </p:txBody>
      </p:sp>
    </p:spTree>
    <p:extLst>
      <p:ext uri="{BB962C8B-B14F-4D97-AF65-F5344CB8AC3E}">
        <p14:creationId xmlns:p14="http://schemas.microsoft.com/office/powerpoint/2010/main" val="193637151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artly bleed color area 1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Background">
            <a:extLst>
              <a:ext uri="{FF2B5EF4-FFF2-40B4-BE49-F238E27FC236}">
                <a16:creationId xmlns:a16="http://schemas.microsoft.com/office/drawing/2014/main" id="{1B67C6AD-42CF-4549-839D-23FD1107A8C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1197" t="-4" r="1" b="-1"/>
          <a:stretch/>
        </p:blipFill>
        <p:spPr bwMode="invGray">
          <a:xfrm>
            <a:off x="6242050" y="0"/>
            <a:ext cx="5949950" cy="6857571"/>
          </a:xfrm>
          <a:prstGeom prst="rect">
            <a:avLst/>
          </a:prstGeom>
        </p:spPr>
      </p:pic>
      <p:sp>
        <p:nvSpPr>
          <p:cNvPr id="3" name="Title">
            <a:extLst>
              <a:ext uri="{FF2B5EF4-FFF2-40B4-BE49-F238E27FC236}">
                <a16:creationId xmlns:a16="http://schemas.microsoft.com/office/drawing/2014/main" id="{69754322-9D76-4652-BA00-A16E0E8BC4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" y="1"/>
            <a:ext cx="6098400" cy="1414462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1" name="Copy 1">
            <a:extLst>
              <a:ext uri="{FF2B5EF4-FFF2-40B4-BE49-F238E27FC236}">
                <a16:creationId xmlns:a16="http://schemas.microsoft.com/office/drawing/2014/main" id="{756262E2-8F38-4C0F-A3F9-8F59D3EABBE4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627063" y="1702800"/>
            <a:ext cx="5468935" cy="4464050"/>
          </a:xfrm>
        </p:spPr>
        <p:txBody>
          <a:bodyPr lIns="0"/>
          <a:lstStyle>
            <a:lvl1pPr>
              <a:defRPr>
                <a:solidFill>
                  <a:schemeClr val="tx1"/>
                </a:solidFill>
              </a:defRPr>
            </a:lvl1pPr>
            <a:lvl2pPr>
              <a:buClr>
                <a:schemeClr val="accent2"/>
              </a:buClr>
              <a:defRPr>
                <a:solidFill>
                  <a:schemeClr val="tx1"/>
                </a:solidFill>
              </a:defRPr>
            </a:lvl2pPr>
            <a:lvl3pPr>
              <a:buClr>
                <a:schemeClr val="accent2"/>
              </a:buClr>
              <a:defRPr>
                <a:solidFill>
                  <a:schemeClr val="tx1"/>
                </a:solidFill>
              </a:defRPr>
            </a:lvl3pPr>
            <a:lvl4pPr>
              <a:buClr>
                <a:schemeClr val="accent2"/>
              </a:buClr>
              <a:defRPr>
                <a:solidFill>
                  <a:schemeClr val="tx1"/>
                </a:solidFill>
              </a:defRPr>
            </a:lvl4pPr>
            <a:lvl5pPr>
              <a:buClr>
                <a:schemeClr val="accent2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Copy 2">
            <a:extLst>
              <a:ext uri="{FF2B5EF4-FFF2-40B4-BE49-F238E27FC236}">
                <a16:creationId xmlns:a16="http://schemas.microsoft.com/office/drawing/2014/main" id="{0C7A0882-840F-46D5-B681-43C58151C831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6868800" y="1702800"/>
            <a:ext cx="4845363" cy="4464050"/>
          </a:xfrm>
        </p:spPr>
        <p:txBody>
          <a:bodyPr lIns="0"/>
          <a:lstStyle>
            <a:lvl1pPr>
              <a:defRPr>
                <a:solidFill>
                  <a:schemeClr val="bg1"/>
                </a:solidFill>
              </a:defRPr>
            </a:lvl1pPr>
            <a:lvl2pPr>
              <a:buClrTx/>
              <a:defRPr>
                <a:solidFill>
                  <a:schemeClr val="bg1"/>
                </a:solidFill>
              </a:defRPr>
            </a:lvl2pPr>
            <a:lvl3pPr>
              <a:buClrTx/>
              <a:defRPr>
                <a:solidFill>
                  <a:schemeClr val="bg1"/>
                </a:solidFill>
              </a:defRPr>
            </a:lvl3pPr>
            <a:lvl4pPr>
              <a:buClrTx/>
              <a:defRPr>
                <a:solidFill>
                  <a:schemeClr val="bg1"/>
                </a:solidFill>
              </a:defRPr>
            </a:lvl4pPr>
            <a:lvl5pPr>
              <a:buClrTx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6" name="Author | Department">
            <a:extLst>
              <a:ext uri="{FF2B5EF4-FFF2-40B4-BE49-F238E27FC236}">
                <a16:creationId xmlns:a16="http://schemas.microsoft.com/office/drawing/2014/main" id="{AF33B1C0-2E11-42BC-A97B-DF29BD3B97B8}"/>
              </a:ext>
            </a:extLst>
          </p:cNvPr>
          <p:cNvSpPr txBox="1"/>
          <p:nvPr userDrawn="1"/>
        </p:nvSpPr>
        <p:spPr>
          <a:xfrm>
            <a:off x="6242050" y="6166800"/>
            <a:ext cx="5949950" cy="360000"/>
          </a:xfrm>
          <a:prstGeom prst="rect">
            <a:avLst/>
          </a:prstGeom>
          <a:noFill/>
        </p:spPr>
        <p:txBody>
          <a:bodyPr wrap="square" lIns="0" tIns="0" rIns="835200" bIns="36000" rtlCol="0" anchor="b">
            <a:noAutofit/>
          </a:bodyPr>
          <a:lstStyle/>
          <a:p>
            <a:pPr algn="r"/>
            <a:r>
              <a:rPr lang="en-US" sz="1000" b="0" noProof="0">
                <a:solidFill>
                  <a:schemeClr val="bg1"/>
                </a:solidFill>
              </a:rPr>
              <a:t>Author | Department</a:t>
            </a:r>
          </a:p>
        </p:txBody>
      </p:sp>
      <p:sp>
        <p:nvSpPr>
          <p:cNvPr id="17" name="Copyright">
            <a:extLst>
              <a:ext uri="{FF2B5EF4-FFF2-40B4-BE49-F238E27FC236}">
                <a16:creationId xmlns:a16="http://schemas.microsoft.com/office/drawing/2014/main" id="{C6BE5120-1513-4265-A6B3-3B42254A34FF}"/>
              </a:ext>
            </a:extLst>
          </p:cNvPr>
          <p:cNvSpPr txBox="1"/>
          <p:nvPr userDrawn="1"/>
        </p:nvSpPr>
        <p:spPr>
          <a:xfrm>
            <a:off x="6242050" y="6526800"/>
            <a:ext cx="5949950" cy="331200"/>
          </a:xfrm>
          <a:prstGeom prst="rect">
            <a:avLst/>
          </a:prstGeom>
          <a:noFill/>
        </p:spPr>
        <p:txBody>
          <a:bodyPr wrap="square" lIns="626400" tIns="0" rIns="482400" bIns="0" rtlCol="0" anchor="t">
            <a:noAutofit/>
          </a:bodyPr>
          <a:lstStyle/>
          <a:p>
            <a:pPr algn="r"/>
            <a:r>
              <a:rPr lang="en-US" sz="1000" b="0" noProof="0">
                <a:solidFill>
                  <a:schemeClr val="bg1"/>
                </a:solidFill>
              </a:rPr>
              <a:t>Unrestricted © Siemens Energy, 2021</a:t>
            </a:r>
          </a:p>
        </p:txBody>
      </p:sp>
      <p:sp>
        <p:nvSpPr>
          <p:cNvPr id="18" name="Page">
            <a:extLst>
              <a:ext uri="{FF2B5EF4-FFF2-40B4-BE49-F238E27FC236}">
                <a16:creationId xmlns:a16="http://schemas.microsoft.com/office/drawing/2014/main" id="{0A81FD87-E05D-463F-95C1-4A49C99D181A}"/>
              </a:ext>
            </a:extLst>
          </p:cNvPr>
          <p:cNvSpPr txBox="1"/>
          <p:nvPr userDrawn="1"/>
        </p:nvSpPr>
        <p:spPr>
          <a:xfrm>
            <a:off x="11364000" y="6166800"/>
            <a:ext cx="828000" cy="360000"/>
          </a:xfrm>
          <a:prstGeom prst="rect">
            <a:avLst/>
          </a:prstGeom>
          <a:noFill/>
        </p:spPr>
        <p:txBody>
          <a:bodyPr wrap="square" lIns="0" tIns="0" rIns="482400" bIns="36000" rtlCol="0" anchor="b">
            <a:noAutofit/>
          </a:bodyPr>
          <a:lstStyle/>
          <a:p>
            <a:pPr algn="r"/>
            <a:fld id="{6F7EFBA6-8CEB-40F4-B709-F27F7004ACFC}" type="slidenum">
              <a:rPr lang="en-US" sz="1000" b="1" noProof="0" smtClean="0">
                <a:solidFill>
                  <a:schemeClr val="bg1"/>
                </a:solidFill>
              </a:rPr>
              <a:t>‹Nr.›</a:t>
            </a:fld>
            <a:endParaRPr lang="en-US" sz="1000" b="1" noProof="0">
              <a:solidFill>
                <a:schemeClr val="bg1"/>
              </a:solidFill>
            </a:endParaRPr>
          </a:p>
        </p:txBody>
      </p:sp>
      <p:sp>
        <p:nvSpPr>
          <p:cNvPr id="19" name="Date">
            <a:extLst>
              <a:ext uri="{FF2B5EF4-FFF2-40B4-BE49-F238E27FC236}">
                <a16:creationId xmlns:a16="http://schemas.microsoft.com/office/drawing/2014/main" id="{21CEE93F-0590-461F-A26C-B76B7B67C05B}"/>
              </a:ext>
            </a:extLst>
          </p:cNvPr>
          <p:cNvSpPr txBox="1"/>
          <p:nvPr userDrawn="1"/>
        </p:nvSpPr>
        <p:spPr>
          <a:xfrm>
            <a:off x="-1" y="6526800"/>
            <a:ext cx="1692000" cy="331200"/>
          </a:xfrm>
          <a:prstGeom prst="rect">
            <a:avLst/>
          </a:prstGeom>
          <a:noFill/>
        </p:spPr>
        <p:txBody>
          <a:bodyPr wrap="square" lIns="626400" tIns="0" rIns="0" bIns="36000" rtlCol="0" anchor="t">
            <a:noAutofit/>
          </a:bodyPr>
          <a:lstStyle/>
          <a:p>
            <a:pPr algn="l"/>
            <a:r>
              <a:rPr lang="en-US" sz="1000" b="0" noProof="0">
                <a:solidFill>
                  <a:schemeClr val="tx1"/>
                </a:solidFill>
              </a:rPr>
              <a:t>YYYY-MM-DD</a:t>
            </a:r>
          </a:p>
        </p:txBody>
      </p:sp>
    </p:spTree>
    <p:extLst>
      <p:ext uri="{BB962C8B-B14F-4D97-AF65-F5344CB8AC3E}">
        <p14:creationId xmlns:p14="http://schemas.microsoft.com/office/powerpoint/2010/main" val="226970033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4326" userDrawn="1">
          <p15:clr>
            <a:srgbClr val="009999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artly bleed color area 2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Background">
            <a:extLst>
              <a:ext uri="{FF2B5EF4-FFF2-40B4-BE49-F238E27FC236}">
                <a16:creationId xmlns:a16="http://schemas.microsoft.com/office/drawing/2014/main" id="{DCAA5B86-D6D2-48E1-A718-F4740661587C}"/>
              </a:ext>
            </a:extLst>
          </p:cNvPr>
          <p:cNvSpPr/>
          <p:nvPr userDrawn="1"/>
        </p:nvSpPr>
        <p:spPr bwMode="invGray">
          <a:xfrm>
            <a:off x="-2" y="1"/>
            <a:ext cx="6099177" cy="6857998"/>
          </a:xfrm>
          <a:prstGeom prst="rect">
            <a:avLst/>
          </a:prstGeom>
          <a:gradFill flip="none" rotWithShape="1">
            <a:gsLst>
              <a:gs pos="0">
                <a:schemeClr val="accent2"/>
              </a:gs>
              <a:gs pos="70000">
                <a:schemeClr val="bg2"/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3" name="Title">
            <a:extLst>
              <a:ext uri="{FF2B5EF4-FFF2-40B4-BE49-F238E27FC236}">
                <a16:creationId xmlns:a16="http://schemas.microsoft.com/office/drawing/2014/main" id="{4F3C362A-A909-40CB-9FA2-3D71780075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" y="1"/>
            <a:ext cx="6098400" cy="141446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1" name="Copy 1">
            <a:extLst>
              <a:ext uri="{FF2B5EF4-FFF2-40B4-BE49-F238E27FC236}">
                <a16:creationId xmlns:a16="http://schemas.microsoft.com/office/drawing/2014/main" id="{756262E2-8F38-4C0F-A3F9-8F59D3EABBE4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627063" y="1702800"/>
            <a:ext cx="4838400" cy="4464050"/>
          </a:xfrm>
        </p:spPr>
        <p:txBody>
          <a:bodyPr lIns="0"/>
          <a:lstStyle>
            <a:lvl1pPr>
              <a:defRPr>
                <a:solidFill>
                  <a:schemeClr val="tx1"/>
                </a:solidFill>
              </a:defRPr>
            </a:lvl1pPr>
            <a:lvl2pPr>
              <a:buClrTx/>
              <a:defRPr>
                <a:solidFill>
                  <a:schemeClr val="tx1"/>
                </a:solidFill>
              </a:defRPr>
            </a:lvl2pPr>
            <a:lvl3pPr>
              <a:buClrTx/>
              <a:defRPr>
                <a:solidFill>
                  <a:schemeClr val="tx1"/>
                </a:solidFill>
              </a:defRPr>
            </a:lvl3pPr>
            <a:lvl4pPr>
              <a:buClrTx/>
              <a:defRPr>
                <a:solidFill>
                  <a:schemeClr val="tx1"/>
                </a:solidFill>
              </a:defRPr>
            </a:lvl4pPr>
            <a:lvl5pPr>
              <a:buClrTx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Copy 2">
            <a:extLst>
              <a:ext uri="{FF2B5EF4-FFF2-40B4-BE49-F238E27FC236}">
                <a16:creationId xmlns:a16="http://schemas.microsoft.com/office/drawing/2014/main" id="{0C7A0882-840F-46D5-B681-43C58151C831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6724799" y="1702800"/>
            <a:ext cx="4989364" cy="4464050"/>
          </a:xfrm>
        </p:spPr>
        <p:txBody>
          <a:bodyPr lIns="0"/>
          <a:lstStyle>
            <a:lvl1pPr>
              <a:defRPr>
                <a:solidFill>
                  <a:schemeClr val="bg2"/>
                </a:solidFill>
              </a:defRPr>
            </a:lvl1pPr>
            <a:lvl2pPr>
              <a:buClr>
                <a:schemeClr val="accent2"/>
              </a:buClr>
              <a:defRPr>
                <a:solidFill>
                  <a:schemeClr val="bg2"/>
                </a:solidFill>
              </a:defRPr>
            </a:lvl2pPr>
            <a:lvl3pPr>
              <a:buClr>
                <a:schemeClr val="accent2"/>
              </a:buClr>
              <a:defRPr>
                <a:solidFill>
                  <a:schemeClr val="bg2"/>
                </a:solidFill>
              </a:defRPr>
            </a:lvl3pPr>
            <a:lvl4pPr>
              <a:buClr>
                <a:schemeClr val="accent2"/>
              </a:buClr>
              <a:defRPr>
                <a:solidFill>
                  <a:schemeClr val="bg2"/>
                </a:solidFill>
              </a:defRPr>
            </a:lvl4pPr>
            <a:lvl5pPr>
              <a:buClr>
                <a:schemeClr val="accent2"/>
              </a:buCl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6" name="Author | Department">
            <a:extLst>
              <a:ext uri="{FF2B5EF4-FFF2-40B4-BE49-F238E27FC236}">
                <a16:creationId xmlns:a16="http://schemas.microsoft.com/office/drawing/2014/main" id="{AF33B1C0-2E11-42BC-A97B-DF29BD3B97B8}"/>
              </a:ext>
            </a:extLst>
          </p:cNvPr>
          <p:cNvSpPr txBox="1"/>
          <p:nvPr userDrawn="1"/>
        </p:nvSpPr>
        <p:spPr>
          <a:xfrm>
            <a:off x="6242050" y="6166800"/>
            <a:ext cx="5949950" cy="360000"/>
          </a:xfrm>
          <a:prstGeom prst="rect">
            <a:avLst/>
          </a:prstGeom>
          <a:noFill/>
        </p:spPr>
        <p:txBody>
          <a:bodyPr wrap="square" lIns="0" tIns="0" rIns="835200" bIns="36000" rtlCol="0" anchor="b">
            <a:noAutofit/>
          </a:bodyPr>
          <a:lstStyle/>
          <a:p>
            <a:pPr algn="r"/>
            <a:r>
              <a:rPr lang="en-US" sz="1000" b="0" noProof="0">
                <a:solidFill>
                  <a:schemeClr val="bg2"/>
                </a:solidFill>
              </a:rPr>
              <a:t>Author | Department</a:t>
            </a:r>
          </a:p>
        </p:txBody>
      </p:sp>
      <p:sp>
        <p:nvSpPr>
          <p:cNvPr id="17" name="Copyright">
            <a:extLst>
              <a:ext uri="{FF2B5EF4-FFF2-40B4-BE49-F238E27FC236}">
                <a16:creationId xmlns:a16="http://schemas.microsoft.com/office/drawing/2014/main" id="{C6BE5120-1513-4265-A6B3-3B42254A34FF}"/>
              </a:ext>
            </a:extLst>
          </p:cNvPr>
          <p:cNvSpPr txBox="1"/>
          <p:nvPr userDrawn="1"/>
        </p:nvSpPr>
        <p:spPr>
          <a:xfrm>
            <a:off x="6242050" y="6526800"/>
            <a:ext cx="5949950" cy="331200"/>
          </a:xfrm>
          <a:prstGeom prst="rect">
            <a:avLst/>
          </a:prstGeom>
          <a:noFill/>
        </p:spPr>
        <p:txBody>
          <a:bodyPr wrap="square" lIns="626400" tIns="0" rIns="482400" bIns="0" rtlCol="0" anchor="t">
            <a:noAutofit/>
          </a:bodyPr>
          <a:lstStyle/>
          <a:p>
            <a:pPr algn="r"/>
            <a:r>
              <a:rPr lang="en-US" sz="1000" b="0" noProof="0">
                <a:solidFill>
                  <a:schemeClr val="bg2"/>
                </a:solidFill>
              </a:rPr>
              <a:t>Unrestricted © Siemens Energy, 2021</a:t>
            </a:r>
          </a:p>
        </p:txBody>
      </p:sp>
      <p:sp>
        <p:nvSpPr>
          <p:cNvPr id="18" name="Page">
            <a:extLst>
              <a:ext uri="{FF2B5EF4-FFF2-40B4-BE49-F238E27FC236}">
                <a16:creationId xmlns:a16="http://schemas.microsoft.com/office/drawing/2014/main" id="{0A81FD87-E05D-463F-95C1-4A49C99D181A}"/>
              </a:ext>
            </a:extLst>
          </p:cNvPr>
          <p:cNvSpPr txBox="1"/>
          <p:nvPr userDrawn="1"/>
        </p:nvSpPr>
        <p:spPr>
          <a:xfrm>
            <a:off x="11364000" y="6166800"/>
            <a:ext cx="828000" cy="360000"/>
          </a:xfrm>
          <a:prstGeom prst="rect">
            <a:avLst/>
          </a:prstGeom>
          <a:noFill/>
        </p:spPr>
        <p:txBody>
          <a:bodyPr wrap="square" lIns="0" tIns="0" rIns="482400" bIns="36000" rtlCol="0" anchor="b">
            <a:noAutofit/>
          </a:bodyPr>
          <a:lstStyle/>
          <a:p>
            <a:pPr algn="r"/>
            <a:fld id="{6F7EFBA6-8CEB-40F4-B709-F27F7004ACFC}" type="slidenum">
              <a:rPr lang="en-US" sz="1000" b="1" noProof="0" smtClean="0">
                <a:solidFill>
                  <a:schemeClr val="bg2"/>
                </a:solidFill>
              </a:rPr>
              <a:t>‹Nr.›</a:t>
            </a:fld>
            <a:endParaRPr lang="en-US" sz="1000" b="1" noProof="0">
              <a:solidFill>
                <a:schemeClr val="bg2"/>
              </a:solidFill>
            </a:endParaRPr>
          </a:p>
        </p:txBody>
      </p:sp>
      <p:sp>
        <p:nvSpPr>
          <p:cNvPr id="19" name="Date">
            <a:extLst>
              <a:ext uri="{FF2B5EF4-FFF2-40B4-BE49-F238E27FC236}">
                <a16:creationId xmlns:a16="http://schemas.microsoft.com/office/drawing/2014/main" id="{21CEE93F-0590-461F-A26C-B76B7B67C05B}"/>
              </a:ext>
            </a:extLst>
          </p:cNvPr>
          <p:cNvSpPr txBox="1"/>
          <p:nvPr userDrawn="1"/>
        </p:nvSpPr>
        <p:spPr>
          <a:xfrm>
            <a:off x="-1" y="6526800"/>
            <a:ext cx="1692000" cy="331200"/>
          </a:xfrm>
          <a:prstGeom prst="rect">
            <a:avLst/>
          </a:prstGeom>
          <a:noFill/>
        </p:spPr>
        <p:txBody>
          <a:bodyPr wrap="square" lIns="626400" tIns="0" rIns="0" bIns="36000" rtlCol="0" anchor="t">
            <a:noAutofit/>
          </a:bodyPr>
          <a:lstStyle/>
          <a:p>
            <a:pPr algn="l"/>
            <a:r>
              <a:rPr lang="en-US" sz="1000" b="0" noProof="0">
                <a:solidFill>
                  <a:schemeClr val="tx1"/>
                </a:solidFill>
              </a:rPr>
              <a:t>YYYY-MM-DD</a:t>
            </a:r>
          </a:p>
        </p:txBody>
      </p:sp>
    </p:spTree>
    <p:extLst>
      <p:ext uri="{BB962C8B-B14F-4D97-AF65-F5344CB8AC3E}">
        <p14:creationId xmlns:p14="http://schemas.microsoft.com/office/powerpoint/2010/main" val="306345297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2" pos="4235" userDrawn="1">
          <p15:clr>
            <a:srgbClr val="009999"/>
          </p15:clr>
        </p15:guide>
        <p15:guide id="4" pos="3445" userDrawn="1">
          <p15:clr>
            <a:srgbClr val="009999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artly bleed color area 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Background">
            <a:extLst>
              <a:ext uri="{FF2B5EF4-FFF2-40B4-BE49-F238E27FC236}">
                <a16:creationId xmlns:a16="http://schemas.microsoft.com/office/drawing/2014/main" id="{1B67C6AD-42CF-4549-839D-23FD1107A8C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4049" t="-4" r="1" b="-1"/>
          <a:stretch/>
        </p:blipFill>
        <p:spPr bwMode="invGray">
          <a:xfrm>
            <a:off x="4225925" y="0"/>
            <a:ext cx="7966075" cy="6857571"/>
          </a:xfrm>
          <a:prstGeom prst="rect">
            <a:avLst/>
          </a:prstGeom>
        </p:spPr>
      </p:pic>
      <p:sp>
        <p:nvSpPr>
          <p:cNvPr id="2" name="Title">
            <a:extLst>
              <a:ext uri="{FF2B5EF4-FFF2-40B4-BE49-F238E27FC236}">
                <a16:creationId xmlns:a16="http://schemas.microsoft.com/office/drawing/2014/main" id="{1DA0C482-E794-471B-86E8-8B4BC6FE0B5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25925" y="1"/>
            <a:ext cx="7488238" cy="141446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1" name="Copy 1">
            <a:extLst>
              <a:ext uri="{FF2B5EF4-FFF2-40B4-BE49-F238E27FC236}">
                <a16:creationId xmlns:a16="http://schemas.microsoft.com/office/drawing/2014/main" id="{756262E2-8F38-4C0F-A3F9-8F59D3EABBE4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627063" y="1702800"/>
            <a:ext cx="3312000" cy="4464050"/>
          </a:xfrm>
        </p:spPr>
        <p:txBody>
          <a:bodyPr lIns="0"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accent2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accent2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accent2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accent2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Copy 2">
            <a:extLst>
              <a:ext uri="{FF2B5EF4-FFF2-40B4-BE49-F238E27FC236}">
                <a16:creationId xmlns:a16="http://schemas.microsoft.com/office/drawing/2014/main" id="{0C7A0882-840F-46D5-B681-43C58151C831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4852988" y="1702800"/>
            <a:ext cx="6861175" cy="4464050"/>
          </a:xfrm>
        </p:spPr>
        <p:txBody>
          <a:bodyPr lIns="0"/>
          <a:lstStyle>
            <a:lvl1pPr>
              <a:defRPr/>
            </a:lvl1pPr>
            <a:lvl2pPr>
              <a:buClrTx/>
              <a:defRPr/>
            </a:lvl2pPr>
            <a:lvl3pPr>
              <a:buClrTx/>
              <a:defRPr/>
            </a:lvl3pPr>
            <a:lvl4pPr>
              <a:buClrTx/>
              <a:defRPr/>
            </a:lvl4pPr>
            <a:lvl5pPr>
              <a:buClrTx/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6" name="Author | Department">
            <a:extLst>
              <a:ext uri="{FF2B5EF4-FFF2-40B4-BE49-F238E27FC236}">
                <a16:creationId xmlns:a16="http://schemas.microsoft.com/office/drawing/2014/main" id="{AF33B1C0-2E11-42BC-A97B-DF29BD3B97B8}"/>
              </a:ext>
            </a:extLst>
          </p:cNvPr>
          <p:cNvSpPr txBox="1"/>
          <p:nvPr userDrawn="1"/>
        </p:nvSpPr>
        <p:spPr>
          <a:xfrm>
            <a:off x="6242050" y="6166800"/>
            <a:ext cx="5949950" cy="360000"/>
          </a:xfrm>
          <a:prstGeom prst="rect">
            <a:avLst/>
          </a:prstGeom>
          <a:noFill/>
        </p:spPr>
        <p:txBody>
          <a:bodyPr wrap="square" lIns="0" tIns="0" rIns="835200" bIns="36000" rtlCol="0" anchor="b">
            <a:noAutofit/>
          </a:bodyPr>
          <a:lstStyle/>
          <a:p>
            <a:pPr algn="r"/>
            <a:r>
              <a:rPr lang="en-US" sz="1000" b="0" noProof="0">
                <a:solidFill>
                  <a:schemeClr val="tx1"/>
                </a:solidFill>
              </a:rPr>
              <a:t>Author | Department</a:t>
            </a:r>
          </a:p>
        </p:txBody>
      </p:sp>
      <p:sp>
        <p:nvSpPr>
          <p:cNvPr id="17" name="Copyright">
            <a:extLst>
              <a:ext uri="{FF2B5EF4-FFF2-40B4-BE49-F238E27FC236}">
                <a16:creationId xmlns:a16="http://schemas.microsoft.com/office/drawing/2014/main" id="{C6BE5120-1513-4265-A6B3-3B42254A34FF}"/>
              </a:ext>
            </a:extLst>
          </p:cNvPr>
          <p:cNvSpPr txBox="1"/>
          <p:nvPr userDrawn="1"/>
        </p:nvSpPr>
        <p:spPr>
          <a:xfrm>
            <a:off x="6242050" y="6526800"/>
            <a:ext cx="5949950" cy="331200"/>
          </a:xfrm>
          <a:prstGeom prst="rect">
            <a:avLst/>
          </a:prstGeom>
          <a:noFill/>
        </p:spPr>
        <p:txBody>
          <a:bodyPr wrap="square" lIns="626400" tIns="0" rIns="482400" bIns="0" rtlCol="0" anchor="t">
            <a:noAutofit/>
          </a:bodyPr>
          <a:lstStyle/>
          <a:p>
            <a:pPr algn="r"/>
            <a:r>
              <a:rPr lang="en-US" sz="1000" b="0" noProof="0">
                <a:solidFill>
                  <a:schemeClr val="tx1"/>
                </a:solidFill>
              </a:rPr>
              <a:t>Unrestricted © Siemens Energy, 2021</a:t>
            </a:r>
          </a:p>
        </p:txBody>
      </p:sp>
      <p:sp>
        <p:nvSpPr>
          <p:cNvPr id="18" name="Page">
            <a:extLst>
              <a:ext uri="{FF2B5EF4-FFF2-40B4-BE49-F238E27FC236}">
                <a16:creationId xmlns:a16="http://schemas.microsoft.com/office/drawing/2014/main" id="{0A81FD87-E05D-463F-95C1-4A49C99D181A}"/>
              </a:ext>
            </a:extLst>
          </p:cNvPr>
          <p:cNvSpPr txBox="1"/>
          <p:nvPr userDrawn="1"/>
        </p:nvSpPr>
        <p:spPr>
          <a:xfrm>
            <a:off x="11292000" y="6166800"/>
            <a:ext cx="900000" cy="360000"/>
          </a:xfrm>
          <a:prstGeom prst="rect">
            <a:avLst/>
          </a:prstGeom>
          <a:noFill/>
        </p:spPr>
        <p:txBody>
          <a:bodyPr wrap="square" lIns="0" tIns="0" rIns="482400" bIns="36000" rtlCol="0" anchor="b">
            <a:noAutofit/>
          </a:bodyPr>
          <a:lstStyle/>
          <a:p>
            <a:pPr algn="r"/>
            <a:fld id="{6F7EFBA6-8CEB-40F4-B709-F27F7004ACFC}" type="slidenum">
              <a:rPr lang="en-US" sz="1000" b="1" noProof="0" smtClean="0">
                <a:solidFill>
                  <a:schemeClr val="tx1"/>
                </a:solidFill>
              </a:rPr>
              <a:t>‹Nr.›</a:t>
            </a:fld>
            <a:endParaRPr lang="en-US" sz="1000" b="1" noProof="0">
              <a:solidFill>
                <a:schemeClr val="tx1"/>
              </a:solidFill>
            </a:endParaRPr>
          </a:p>
        </p:txBody>
      </p:sp>
      <p:sp>
        <p:nvSpPr>
          <p:cNvPr id="19" name="Date">
            <a:extLst>
              <a:ext uri="{FF2B5EF4-FFF2-40B4-BE49-F238E27FC236}">
                <a16:creationId xmlns:a16="http://schemas.microsoft.com/office/drawing/2014/main" id="{21CEE93F-0590-461F-A26C-B76B7B67C05B}"/>
              </a:ext>
            </a:extLst>
          </p:cNvPr>
          <p:cNvSpPr txBox="1"/>
          <p:nvPr userDrawn="1"/>
        </p:nvSpPr>
        <p:spPr>
          <a:xfrm>
            <a:off x="-1" y="6526800"/>
            <a:ext cx="1692000" cy="331200"/>
          </a:xfrm>
          <a:prstGeom prst="rect">
            <a:avLst/>
          </a:prstGeom>
          <a:noFill/>
        </p:spPr>
        <p:txBody>
          <a:bodyPr wrap="square" lIns="626400" tIns="0" rIns="0" bIns="36000" rtlCol="0" anchor="t">
            <a:noAutofit/>
          </a:bodyPr>
          <a:lstStyle/>
          <a:p>
            <a:pPr algn="l"/>
            <a:r>
              <a:rPr lang="en-US" sz="1000" b="0" noProof="0">
                <a:solidFill>
                  <a:schemeClr val="bg1"/>
                </a:solidFill>
              </a:rPr>
              <a:t>YYYY-MM-DD</a:t>
            </a:r>
          </a:p>
        </p:txBody>
      </p:sp>
    </p:spTree>
    <p:extLst>
      <p:ext uri="{BB962C8B-B14F-4D97-AF65-F5344CB8AC3E}">
        <p14:creationId xmlns:p14="http://schemas.microsoft.com/office/powerpoint/2010/main" val="355603908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2" pos="2482" userDrawn="1">
          <p15:clr>
            <a:srgbClr val="009999"/>
          </p15:clr>
        </p15:guide>
        <p15:guide id="3" pos="3057" userDrawn="1">
          <p15:clr>
            <a:srgbClr val="009999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artly bleed color area 4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Background">
            <a:extLst>
              <a:ext uri="{FF2B5EF4-FFF2-40B4-BE49-F238E27FC236}">
                <a16:creationId xmlns:a16="http://schemas.microsoft.com/office/drawing/2014/main" id="{DCAA5B86-D6D2-48E1-A718-F4740661587C}"/>
              </a:ext>
            </a:extLst>
          </p:cNvPr>
          <p:cNvSpPr/>
          <p:nvPr userDrawn="1"/>
        </p:nvSpPr>
        <p:spPr bwMode="invGray">
          <a:xfrm>
            <a:off x="-1" y="1"/>
            <a:ext cx="4225926" cy="6857998"/>
          </a:xfrm>
          <a:prstGeom prst="rect">
            <a:avLst/>
          </a:prstGeom>
          <a:gradFill flip="none" rotWithShape="1">
            <a:gsLst>
              <a:gs pos="0">
                <a:schemeClr val="accent2"/>
              </a:gs>
              <a:gs pos="70000">
                <a:schemeClr val="tx2"/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A506C2C1-E8E5-4190-B0E4-8D8FC817B35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25925" y="1"/>
            <a:ext cx="7488238" cy="1414462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1" name="Copy 1">
            <a:extLst>
              <a:ext uri="{FF2B5EF4-FFF2-40B4-BE49-F238E27FC236}">
                <a16:creationId xmlns:a16="http://schemas.microsoft.com/office/drawing/2014/main" id="{756262E2-8F38-4C0F-A3F9-8F59D3EABBE4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627063" y="1702800"/>
            <a:ext cx="3312000" cy="4464050"/>
          </a:xfrm>
        </p:spPr>
        <p:txBody>
          <a:bodyPr lIns="0"/>
          <a:lstStyle>
            <a:lvl1pPr>
              <a:defRPr>
                <a:solidFill>
                  <a:schemeClr val="bg1"/>
                </a:solidFill>
              </a:defRPr>
            </a:lvl1pPr>
            <a:lvl2pPr>
              <a:buClrTx/>
              <a:defRPr>
                <a:solidFill>
                  <a:schemeClr val="bg1"/>
                </a:solidFill>
              </a:defRPr>
            </a:lvl2pPr>
            <a:lvl3pPr>
              <a:buClrTx/>
              <a:defRPr>
                <a:solidFill>
                  <a:schemeClr val="bg1"/>
                </a:solidFill>
              </a:defRPr>
            </a:lvl3pPr>
            <a:lvl4pPr>
              <a:buClrTx/>
              <a:defRPr>
                <a:solidFill>
                  <a:schemeClr val="bg1"/>
                </a:solidFill>
              </a:defRPr>
            </a:lvl4pPr>
            <a:lvl5pPr>
              <a:buClrTx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Copy 2">
            <a:extLst>
              <a:ext uri="{FF2B5EF4-FFF2-40B4-BE49-F238E27FC236}">
                <a16:creationId xmlns:a16="http://schemas.microsoft.com/office/drawing/2014/main" id="{0C7A0882-840F-46D5-B681-43C58151C831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4852990" y="1702800"/>
            <a:ext cx="6861174" cy="4464050"/>
          </a:xfrm>
        </p:spPr>
        <p:txBody>
          <a:bodyPr lIns="0"/>
          <a:lstStyle>
            <a:lvl1pPr>
              <a:defRPr/>
            </a:lvl1pPr>
            <a:lvl2pPr>
              <a:buClr>
                <a:schemeClr val="accent2"/>
              </a:buClr>
              <a:defRPr/>
            </a:lvl2pPr>
            <a:lvl3pPr>
              <a:buClr>
                <a:schemeClr val="accent2"/>
              </a:buClr>
              <a:defRPr/>
            </a:lvl3pPr>
            <a:lvl4pPr>
              <a:buClr>
                <a:schemeClr val="accent2"/>
              </a:buClr>
              <a:defRPr/>
            </a:lvl4pPr>
            <a:lvl5pPr>
              <a:buClr>
                <a:schemeClr val="accent2"/>
              </a:buCl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6" name="Author | Department">
            <a:extLst>
              <a:ext uri="{FF2B5EF4-FFF2-40B4-BE49-F238E27FC236}">
                <a16:creationId xmlns:a16="http://schemas.microsoft.com/office/drawing/2014/main" id="{AF33B1C0-2E11-42BC-A97B-DF29BD3B97B8}"/>
              </a:ext>
            </a:extLst>
          </p:cNvPr>
          <p:cNvSpPr txBox="1"/>
          <p:nvPr userDrawn="1"/>
        </p:nvSpPr>
        <p:spPr>
          <a:xfrm>
            <a:off x="6242050" y="6166800"/>
            <a:ext cx="5949950" cy="360000"/>
          </a:xfrm>
          <a:prstGeom prst="rect">
            <a:avLst/>
          </a:prstGeom>
          <a:noFill/>
        </p:spPr>
        <p:txBody>
          <a:bodyPr wrap="square" lIns="0" tIns="0" rIns="835200" bIns="36000" rtlCol="0" anchor="b">
            <a:noAutofit/>
          </a:bodyPr>
          <a:lstStyle/>
          <a:p>
            <a:pPr algn="r"/>
            <a:r>
              <a:rPr lang="en-US" sz="1000" b="0" noProof="0">
                <a:solidFill>
                  <a:schemeClr val="tx1"/>
                </a:solidFill>
              </a:rPr>
              <a:t>Author | Department</a:t>
            </a:r>
          </a:p>
        </p:txBody>
      </p:sp>
      <p:sp>
        <p:nvSpPr>
          <p:cNvPr id="17" name="Copyright">
            <a:extLst>
              <a:ext uri="{FF2B5EF4-FFF2-40B4-BE49-F238E27FC236}">
                <a16:creationId xmlns:a16="http://schemas.microsoft.com/office/drawing/2014/main" id="{C6BE5120-1513-4265-A6B3-3B42254A34FF}"/>
              </a:ext>
            </a:extLst>
          </p:cNvPr>
          <p:cNvSpPr txBox="1"/>
          <p:nvPr userDrawn="1"/>
        </p:nvSpPr>
        <p:spPr>
          <a:xfrm>
            <a:off x="6242050" y="6526800"/>
            <a:ext cx="5949950" cy="331200"/>
          </a:xfrm>
          <a:prstGeom prst="rect">
            <a:avLst/>
          </a:prstGeom>
          <a:noFill/>
        </p:spPr>
        <p:txBody>
          <a:bodyPr wrap="square" lIns="626400" tIns="0" rIns="482400" bIns="0" rtlCol="0" anchor="t">
            <a:noAutofit/>
          </a:bodyPr>
          <a:lstStyle/>
          <a:p>
            <a:pPr algn="r"/>
            <a:r>
              <a:rPr lang="en-US" sz="1000" b="0" noProof="0">
                <a:solidFill>
                  <a:schemeClr val="tx1"/>
                </a:solidFill>
              </a:rPr>
              <a:t>Unrestricted © Siemens Energy, 2021</a:t>
            </a:r>
          </a:p>
        </p:txBody>
      </p:sp>
      <p:sp>
        <p:nvSpPr>
          <p:cNvPr id="18" name="Page">
            <a:extLst>
              <a:ext uri="{FF2B5EF4-FFF2-40B4-BE49-F238E27FC236}">
                <a16:creationId xmlns:a16="http://schemas.microsoft.com/office/drawing/2014/main" id="{0A81FD87-E05D-463F-95C1-4A49C99D181A}"/>
              </a:ext>
            </a:extLst>
          </p:cNvPr>
          <p:cNvSpPr txBox="1"/>
          <p:nvPr userDrawn="1"/>
        </p:nvSpPr>
        <p:spPr>
          <a:xfrm>
            <a:off x="11364000" y="6166800"/>
            <a:ext cx="828000" cy="360000"/>
          </a:xfrm>
          <a:prstGeom prst="rect">
            <a:avLst/>
          </a:prstGeom>
          <a:noFill/>
        </p:spPr>
        <p:txBody>
          <a:bodyPr wrap="square" lIns="0" tIns="0" rIns="482400" bIns="36000" rtlCol="0" anchor="b">
            <a:noAutofit/>
          </a:bodyPr>
          <a:lstStyle/>
          <a:p>
            <a:pPr algn="r"/>
            <a:fld id="{6F7EFBA6-8CEB-40F4-B709-F27F7004ACFC}" type="slidenum">
              <a:rPr lang="en-US" sz="1000" b="1" noProof="0" smtClean="0">
                <a:solidFill>
                  <a:schemeClr val="tx1"/>
                </a:solidFill>
              </a:rPr>
              <a:t>‹Nr.›</a:t>
            </a:fld>
            <a:endParaRPr lang="en-US" sz="1000" b="1" noProof="0">
              <a:solidFill>
                <a:schemeClr val="tx1"/>
              </a:solidFill>
            </a:endParaRPr>
          </a:p>
        </p:txBody>
      </p:sp>
      <p:sp>
        <p:nvSpPr>
          <p:cNvPr id="19" name="Date">
            <a:extLst>
              <a:ext uri="{FF2B5EF4-FFF2-40B4-BE49-F238E27FC236}">
                <a16:creationId xmlns:a16="http://schemas.microsoft.com/office/drawing/2014/main" id="{21CEE93F-0590-461F-A26C-B76B7B67C05B}"/>
              </a:ext>
            </a:extLst>
          </p:cNvPr>
          <p:cNvSpPr txBox="1"/>
          <p:nvPr userDrawn="1"/>
        </p:nvSpPr>
        <p:spPr>
          <a:xfrm>
            <a:off x="-1" y="6526800"/>
            <a:ext cx="1692000" cy="331200"/>
          </a:xfrm>
          <a:prstGeom prst="rect">
            <a:avLst/>
          </a:prstGeom>
          <a:noFill/>
        </p:spPr>
        <p:txBody>
          <a:bodyPr wrap="square" lIns="626400" tIns="0" rIns="0" bIns="36000" rtlCol="0" anchor="t">
            <a:noAutofit/>
          </a:bodyPr>
          <a:lstStyle/>
          <a:p>
            <a:pPr algn="l"/>
            <a:r>
              <a:rPr lang="en-US" sz="1000" b="0" noProof="0">
                <a:solidFill>
                  <a:schemeClr val="bg1"/>
                </a:solidFill>
              </a:rPr>
              <a:t>YYYY-MM-DD</a:t>
            </a:r>
          </a:p>
        </p:txBody>
      </p:sp>
    </p:spTree>
    <p:extLst>
      <p:ext uri="{BB962C8B-B14F-4D97-AF65-F5344CB8AC3E}">
        <p14:creationId xmlns:p14="http://schemas.microsoft.com/office/powerpoint/2010/main" val="424716956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481" userDrawn="1">
          <p15:clr>
            <a:srgbClr val="009999"/>
          </p15:clr>
        </p15:guide>
        <p15:guide id="3" pos="3058" userDrawn="1">
          <p15:clr>
            <a:srgbClr val="009999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artly bleed color area 5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Background">
            <a:extLst>
              <a:ext uri="{FF2B5EF4-FFF2-40B4-BE49-F238E27FC236}">
                <a16:creationId xmlns:a16="http://schemas.microsoft.com/office/drawing/2014/main" id="{1B67C6AD-42CF-4549-839D-23FD1107A8C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9256"/>
          <a:stretch/>
        </p:blipFill>
        <p:spPr bwMode="invGray">
          <a:xfrm>
            <a:off x="0" y="1414463"/>
            <a:ext cx="12191999" cy="5443108"/>
          </a:xfrm>
          <a:prstGeom prst="rect">
            <a:avLst/>
          </a:prstGeom>
        </p:spPr>
      </p:pic>
      <p:sp>
        <p:nvSpPr>
          <p:cNvPr id="2" name="Title">
            <a:extLst>
              <a:ext uri="{FF2B5EF4-FFF2-40B4-BE49-F238E27FC236}">
                <a16:creationId xmlns:a16="http://schemas.microsoft.com/office/drawing/2014/main" id="{0110D7BC-E7EC-4502-9248-89CD9CF4CB4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Copy 1">
            <a:extLst>
              <a:ext uri="{FF2B5EF4-FFF2-40B4-BE49-F238E27FC236}">
                <a16:creationId xmlns:a16="http://schemas.microsoft.com/office/drawing/2014/main" id="{0C7A0882-840F-46D5-B681-43C58151C831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627060" y="1702800"/>
            <a:ext cx="3600000" cy="4464050"/>
          </a:xfrm>
        </p:spPr>
        <p:txBody>
          <a:bodyPr/>
          <a:lstStyle>
            <a:lvl1pPr>
              <a:defRPr/>
            </a:lvl1pPr>
            <a:lvl2pPr>
              <a:buClrTx/>
              <a:defRPr/>
            </a:lvl2pPr>
            <a:lvl3pPr>
              <a:buClrTx/>
              <a:defRPr/>
            </a:lvl3pPr>
            <a:lvl4pPr>
              <a:buClrTx/>
              <a:defRPr/>
            </a:lvl4pPr>
            <a:lvl5pPr>
              <a:buClrTx/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3" name="Copy 2">
            <a:extLst>
              <a:ext uri="{FF2B5EF4-FFF2-40B4-BE49-F238E27FC236}">
                <a16:creationId xmlns:a16="http://schemas.microsoft.com/office/drawing/2014/main" id="{99496BBF-8C93-419A-9711-E1A45A39C74F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4370612" y="1702800"/>
            <a:ext cx="3600000" cy="4464050"/>
          </a:xfrm>
        </p:spPr>
        <p:txBody>
          <a:bodyPr/>
          <a:lstStyle>
            <a:lvl1pPr>
              <a:defRPr/>
            </a:lvl1pPr>
            <a:lvl2pPr>
              <a:buClrTx/>
              <a:defRPr/>
            </a:lvl2pPr>
            <a:lvl3pPr>
              <a:buClrTx/>
              <a:defRPr/>
            </a:lvl3pPr>
            <a:lvl4pPr>
              <a:buClrTx/>
              <a:defRPr/>
            </a:lvl4pPr>
            <a:lvl5pPr>
              <a:buClrTx/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4" name="Copy 3">
            <a:extLst>
              <a:ext uri="{FF2B5EF4-FFF2-40B4-BE49-F238E27FC236}">
                <a16:creationId xmlns:a16="http://schemas.microsoft.com/office/drawing/2014/main" id="{F4602EF6-A996-4008-A6E7-BC21522010A5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8114163" y="1702800"/>
            <a:ext cx="3600000" cy="4464050"/>
          </a:xfrm>
        </p:spPr>
        <p:txBody>
          <a:bodyPr/>
          <a:lstStyle>
            <a:lvl1pPr>
              <a:defRPr/>
            </a:lvl1pPr>
            <a:lvl2pPr>
              <a:buClrTx/>
              <a:defRPr/>
            </a:lvl2pPr>
            <a:lvl3pPr>
              <a:buClrTx/>
              <a:defRPr/>
            </a:lvl3pPr>
            <a:lvl4pPr>
              <a:buClrTx/>
              <a:defRPr/>
            </a:lvl4pPr>
            <a:lvl5pPr>
              <a:buClrTx/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6" name="Author | Department">
            <a:extLst>
              <a:ext uri="{FF2B5EF4-FFF2-40B4-BE49-F238E27FC236}">
                <a16:creationId xmlns:a16="http://schemas.microsoft.com/office/drawing/2014/main" id="{AF33B1C0-2E11-42BC-A97B-DF29BD3B97B8}"/>
              </a:ext>
            </a:extLst>
          </p:cNvPr>
          <p:cNvSpPr txBox="1"/>
          <p:nvPr userDrawn="1"/>
        </p:nvSpPr>
        <p:spPr>
          <a:xfrm>
            <a:off x="6242050" y="6166800"/>
            <a:ext cx="5949950" cy="360000"/>
          </a:xfrm>
          <a:prstGeom prst="rect">
            <a:avLst/>
          </a:prstGeom>
          <a:noFill/>
        </p:spPr>
        <p:txBody>
          <a:bodyPr wrap="square" lIns="0" tIns="0" rIns="835200" bIns="36000" rtlCol="0" anchor="b">
            <a:noAutofit/>
          </a:bodyPr>
          <a:lstStyle/>
          <a:p>
            <a:pPr algn="r"/>
            <a:r>
              <a:rPr lang="en-US" sz="1000" b="0" noProof="0">
                <a:solidFill>
                  <a:schemeClr val="tx1"/>
                </a:solidFill>
              </a:rPr>
              <a:t>Author | Department</a:t>
            </a:r>
          </a:p>
        </p:txBody>
      </p:sp>
      <p:sp>
        <p:nvSpPr>
          <p:cNvPr id="17" name="Copyright">
            <a:extLst>
              <a:ext uri="{FF2B5EF4-FFF2-40B4-BE49-F238E27FC236}">
                <a16:creationId xmlns:a16="http://schemas.microsoft.com/office/drawing/2014/main" id="{C6BE5120-1513-4265-A6B3-3B42254A34FF}"/>
              </a:ext>
            </a:extLst>
          </p:cNvPr>
          <p:cNvSpPr txBox="1"/>
          <p:nvPr userDrawn="1"/>
        </p:nvSpPr>
        <p:spPr>
          <a:xfrm>
            <a:off x="6242050" y="6526800"/>
            <a:ext cx="5949950" cy="331200"/>
          </a:xfrm>
          <a:prstGeom prst="rect">
            <a:avLst/>
          </a:prstGeom>
          <a:noFill/>
        </p:spPr>
        <p:txBody>
          <a:bodyPr wrap="square" lIns="626400" tIns="0" rIns="482400" bIns="0" rtlCol="0" anchor="t">
            <a:noAutofit/>
          </a:bodyPr>
          <a:lstStyle/>
          <a:p>
            <a:pPr algn="r"/>
            <a:r>
              <a:rPr lang="en-US" sz="1000" b="0" noProof="0">
                <a:solidFill>
                  <a:schemeClr val="tx1"/>
                </a:solidFill>
              </a:rPr>
              <a:t>Unrestricted © Siemens Energy, 2021</a:t>
            </a:r>
          </a:p>
        </p:txBody>
      </p:sp>
      <p:sp>
        <p:nvSpPr>
          <p:cNvPr id="18" name="Page">
            <a:extLst>
              <a:ext uri="{FF2B5EF4-FFF2-40B4-BE49-F238E27FC236}">
                <a16:creationId xmlns:a16="http://schemas.microsoft.com/office/drawing/2014/main" id="{0A81FD87-E05D-463F-95C1-4A49C99D181A}"/>
              </a:ext>
            </a:extLst>
          </p:cNvPr>
          <p:cNvSpPr txBox="1"/>
          <p:nvPr userDrawn="1"/>
        </p:nvSpPr>
        <p:spPr>
          <a:xfrm>
            <a:off x="11364000" y="6166800"/>
            <a:ext cx="828000" cy="360000"/>
          </a:xfrm>
          <a:prstGeom prst="rect">
            <a:avLst/>
          </a:prstGeom>
          <a:noFill/>
        </p:spPr>
        <p:txBody>
          <a:bodyPr wrap="square" lIns="0" tIns="0" rIns="482400" bIns="36000" rtlCol="0" anchor="b">
            <a:noAutofit/>
          </a:bodyPr>
          <a:lstStyle/>
          <a:p>
            <a:pPr algn="r"/>
            <a:fld id="{6F7EFBA6-8CEB-40F4-B709-F27F7004ACFC}" type="slidenum">
              <a:rPr lang="en-US" sz="1000" b="1" noProof="0" smtClean="0">
                <a:solidFill>
                  <a:schemeClr val="tx1"/>
                </a:solidFill>
              </a:rPr>
              <a:t>‹Nr.›</a:t>
            </a:fld>
            <a:endParaRPr lang="en-US" sz="1000" b="1" noProof="0">
              <a:solidFill>
                <a:schemeClr val="tx1"/>
              </a:solidFill>
            </a:endParaRPr>
          </a:p>
        </p:txBody>
      </p:sp>
      <p:sp>
        <p:nvSpPr>
          <p:cNvPr id="19" name="Date">
            <a:extLst>
              <a:ext uri="{FF2B5EF4-FFF2-40B4-BE49-F238E27FC236}">
                <a16:creationId xmlns:a16="http://schemas.microsoft.com/office/drawing/2014/main" id="{21CEE93F-0590-461F-A26C-B76B7B67C05B}"/>
              </a:ext>
            </a:extLst>
          </p:cNvPr>
          <p:cNvSpPr txBox="1"/>
          <p:nvPr userDrawn="1"/>
        </p:nvSpPr>
        <p:spPr>
          <a:xfrm>
            <a:off x="-1" y="6526800"/>
            <a:ext cx="1692000" cy="331200"/>
          </a:xfrm>
          <a:prstGeom prst="rect">
            <a:avLst/>
          </a:prstGeom>
          <a:noFill/>
        </p:spPr>
        <p:txBody>
          <a:bodyPr wrap="square" lIns="626400" tIns="0" rIns="0" bIns="36000" rtlCol="0" anchor="t">
            <a:noAutofit/>
          </a:bodyPr>
          <a:lstStyle/>
          <a:p>
            <a:pPr algn="l"/>
            <a:r>
              <a:rPr lang="en-US" sz="1000" b="0" noProof="0">
                <a:solidFill>
                  <a:schemeClr val="tx1"/>
                </a:solidFill>
              </a:rPr>
              <a:t>YYYY-MM-DD</a:t>
            </a:r>
          </a:p>
        </p:txBody>
      </p:sp>
    </p:spTree>
    <p:extLst>
      <p:ext uri="{BB962C8B-B14F-4D97-AF65-F5344CB8AC3E}">
        <p14:creationId xmlns:p14="http://schemas.microsoft.com/office/powerpoint/2010/main" val="297284289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5022" userDrawn="1">
          <p15:clr>
            <a:srgbClr val="009999"/>
          </p15:clr>
        </p15:guide>
        <p15:guide id="2" pos="5112" userDrawn="1">
          <p15:clr>
            <a:srgbClr val="009999"/>
          </p15:clr>
        </p15:guide>
        <p15:guide id="4" pos="2753" userDrawn="1">
          <p15:clr>
            <a:srgbClr val="009999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picture 4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phic">
            <a:extLst>
              <a:ext uri="{FF2B5EF4-FFF2-40B4-BE49-F238E27FC236}">
                <a16:creationId xmlns:a16="http://schemas.microsoft.com/office/drawing/2014/main" id="{6FE31343-DBA1-4E1C-B310-3652C708DBC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l="21675" t="21705" r="36127" b="36101"/>
          <a:stretch/>
        </p:blipFill>
        <p:spPr bwMode="invGray">
          <a:xfrm>
            <a:off x="0" y="424"/>
            <a:ext cx="12193200" cy="6858000"/>
          </a:xfrm>
          <a:prstGeom prst="rect">
            <a:avLst/>
          </a:prstGeom>
        </p:spPr>
      </p:pic>
      <p:sp>
        <p:nvSpPr>
          <p:cNvPr id="2" name="Title">
            <a:extLst>
              <a:ext uri="{FF2B5EF4-FFF2-40B4-BE49-F238E27FC236}">
                <a16:creationId xmlns:a16="http://schemas.microsoft.com/office/drawing/2014/main" id="{4D270123-9201-40C9-8724-1647E9A0C8F8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627062" y="1414800"/>
            <a:ext cx="5614988" cy="3114000"/>
          </a:xfrm>
        </p:spPr>
        <p:txBody>
          <a:bodyPr lIns="0" tIns="0" bIns="0" anchor="b"/>
          <a:lstStyle>
            <a:lvl1pPr algn="l">
              <a:defRPr sz="44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Subtitle">
            <a:extLst>
              <a:ext uri="{FF2B5EF4-FFF2-40B4-BE49-F238E27FC236}">
                <a16:creationId xmlns:a16="http://schemas.microsoft.com/office/drawing/2014/main" id="{6800291B-8951-48A6-AA08-05DDABDCE8A0}"/>
              </a:ext>
            </a:extLst>
          </p:cNvPr>
          <p:cNvSpPr>
            <a:spLocks noGrp="1"/>
          </p:cNvSpPr>
          <p:nvPr userDrawn="1">
            <p:ph type="subTitle" idx="1" hasCustomPrompt="1"/>
          </p:nvPr>
        </p:nvSpPr>
        <p:spPr>
          <a:xfrm>
            <a:off x="627064" y="4528800"/>
            <a:ext cx="5614986" cy="899252"/>
          </a:xfrm>
        </p:spPr>
        <p:txBody>
          <a:bodyPr lIns="0" tIns="108000" anchor="t">
            <a:noAutofit/>
          </a:bodyPr>
          <a:lstStyle>
            <a:lvl1pPr marL="0" indent="0" algn="l">
              <a:buNone/>
              <a:defRPr sz="15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Presenter of presentation,</a:t>
            </a:r>
            <a:br>
              <a:rPr lang="en-US"/>
            </a:br>
            <a:r>
              <a:rPr lang="en-US"/>
              <a:t>English, Month 2020</a:t>
            </a:r>
          </a:p>
        </p:txBody>
      </p:sp>
      <p:sp>
        <p:nvSpPr>
          <p:cNvPr id="20" name="Copyright">
            <a:extLst>
              <a:ext uri="{FF2B5EF4-FFF2-40B4-BE49-F238E27FC236}">
                <a16:creationId xmlns:a16="http://schemas.microsoft.com/office/drawing/2014/main" id="{D9F34F5F-2345-489B-AB7D-E407430D36F8}"/>
              </a:ext>
            </a:extLst>
          </p:cNvPr>
          <p:cNvSpPr txBox="1"/>
          <p:nvPr userDrawn="1"/>
        </p:nvSpPr>
        <p:spPr>
          <a:xfrm>
            <a:off x="6242050" y="6526800"/>
            <a:ext cx="5949950" cy="331200"/>
          </a:xfrm>
          <a:prstGeom prst="rect">
            <a:avLst/>
          </a:prstGeom>
          <a:noFill/>
        </p:spPr>
        <p:txBody>
          <a:bodyPr wrap="square" lIns="626400" tIns="0" rIns="482400" bIns="0" rtlCol="0">
            <a:noAutofit/>
          </a:bodyPr>
          <a:lstStyle/>
          <a:p>
            <a:pPr algn="r"/>
            <a:r>
              <a:rPr lang="en-US" sz="1000" b="0" noProof="0">
                <a:solidFill>
                  <a:schemeClr val="tx1"/>
                </a:solidFill>
              </a:rPr>
              <a:t>Unrestricted © Siemens Energy, 2021</a:t>
            </a:r>
          </a:p>
        </p:txBody>
      </p:sp>
      <p:sp>
        <p:nvSpPr>
          <p:cNvPr id="9" name="License statement">
            <a:extLst>
              <a:ext uri="{FF2B5EF4-FFF2-40B4-BE49-F238E27FC236}">
                <a16:creationId xmlns:a16="http://schemas.microsoft.com/office/drawing/2014/main" id="{4BDFE179-90A8-4E57-BD6D-D55F6E97F6BE}"/>
              </a:ext>
            </a:extLst>
          </p:cNvPr>
          <p:cNvSpPr txBox="1"/>
          <p:nvPr userDrawn="1"/>
        </p:nvSpPr>
        <p:spPr>
          <a:xfrm>
            <a:off x="627063" y="6526800"/>
            <a:ext cx="5468936" cy="331200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algn="l"/>
            <a:r>
              <a:rPr lang="en-US" sz="1000" b="0" noProof="0">
                <a:solidFill>
                  <a:schemeClr val="accent6"/>
                </a:solidFill>
              </a:rPr>
              <a:t>Siemens Energy is a registered trademark licensed by Siemens AG.</a:t>
            </a:r>
          </a:p>
        </p:txBody>
      </p:sp>
      <p:pic>
        <p:nvPicPr>
          <p:cNvPr id="11" name="Logo">
            <a:extLst>
              <a:ext uri="{FF2B5EF4-FFF2-40B4-BE49-F238E27FC236}">
                <a16:creationId xmlns:a16="http://schemas.microsoft.com/office/drawing/2014/main" id="{78ABE4E0-FB97-4BF6-9DC1-70C063009212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rcRect/>
          <a:stretch/>
        </p:blipFill>
        <p:spPr bwMode="black">
          <a:xfrm>
            <a:off x="10274163" y="468926"/>
            <a:ext cx="1440000" cy="4968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552232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Conta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phic">
            <a:hlinkClick r:id="rId2"/>
            <a:extLst>
              <a:ext uri="{FF2B5EF4-FFF2-40B4-BE49-F238E27FC236}">
                <a16:creationId xmlns:a16="http://schemas.microsoft.com/office/drawing/2014/main" id="{281FD3DE-3D3F-4936-81A7-AD286FE4EFC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 l="36971" t="33492" r="42185" b="37637"/>
          <a:stretch/>
        </p:blipFill>
        <p:spPr bwMode="invGray">
          <a:xfrm>
            <a:off x="1358" y="1414800"/>
            <a:ext cx="6098400" cy="4752000"/>
          </a:xfrm>
          <a:prstGeom prst="rect">
            <a:avLst/>
          </a:prstGeom>
        </p:spPr>
      </p:pic>
      <p:sp>
        <p:nvSpPr>
          <p:cNvPr id="2" name="Title">
            <a:extLst>
              <a:ext uri="{FF2B5EF4-FFF2-40B4-BE49-F238E27FC236}">
                <a16:creationId xmlns:a16="http://schemas.microsoft.com/office/drawing/2014/main" id="{29A8A3D2-4732-49AB-8FCF-B07043C386B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ontact</a:t>
            </a:r>
          </a:p>
        </p:txBody>
      </p:sp>
      <p:sp>
        <p:nvSpPr>
          <p:cNvPr id="3" name="Copy">
            <a:extLst>
              <a:ext uri="{FF2B5EF4-FFF2-40B4-BE49-F238E27FC236}">
                <a16:creationId xmlns:a16="http://schemas.microsoft.com/office/drawing/2014/main" id="{B1D90D2F-1E41-4D9A-A464-3F2D94D5000C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242049" y="1414800"/>
            <a:ext cx="5472113" cy="4752974"/>
          </a:xfrm>
        </p:spPr>
        <p:txBody>
          <a:bodyPr lIns="0"/>
          <a:lstStyle>
            <a:lvl1pPr>
              <a:spcBef>
                <a:spcPts val="600"/>
              </a:spcBef>
              <a:defRPr baseline="0"/>
            </a:lvl1pPr>
            <a:lvl2pPr marL="0" indent="0">
              <a:spcBef>
                <a:spcPts val="600"/>
              </a:spcBef>
              <a:buNone/>
              <a:defRPr b="1"/>
            </a:lvl2pPr>
            <a:lvl3pPr marL="180000" indent="-180000">
              <a:spcBef>
                <a:spcPts val="6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3pPr>
            <a:lvl4pPr marL="0" indent="0">
              <a:spcBef>
                <a:spcPts val="1800"/>
              </a:spcBef>
              <a:buNone/>
              <a:defRPr b="1">
                <a:solidFill>
                  <a:schemeClr val="accent2"/>
                </a:solidFill>
              </a:defRPr>
            </a:lvl4pPr>
            <a:lvl5pPr marL="216000"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ontact information</a:t>
            </a:r>
          </a:p>
          <a:p>
            <a:pPr lvl="1"/>
            <a:r>
              <a:rPr lang="en-US" noProof="0"/>
              <a:t>First name Last name</a:t>
            </a:r>
          </a:p>
          <a:p>
            <a:pPr lvl="2"/>
            <a:r>
              <a:rPr lang="en-US" noProof="0"/>
              <a:t>Additional information</a:t>
            </a:r>
          </a:p>
          <a:p>
            <a:pPr lvl="3"/>
            <a:r>
              <a:rPr lang="en-US" noProof="0"/>
              <a:t>Optional URL</a:t>
            </a:r>
          </a:p>
        </p:txBody>
      </p:sp>
      <p:sp>
        <p:nvSpPr>
          <p:cNvPr id="10" name="License statement">
            <a:extLst>
              <a:ext uri="{FF2B5EF4-FFF2-40B4-BE49-F238E27FC236}">
                <a16:creationId xmlns:a16="http://schemas.microsoft.com/office/drawing/2014/main" id="{7A9560F1-3DB3-46C0-AE0C-BFB3B1558722}"/>
              </a:ext>
            </a:extLst>
          </p:cNvPr>
          <p:cNvSpPr txBox="1"/>
          <p:nvPr userDrawn="1"/>
        </p:nvSpPr>
        <p:spPr>
          <a:xfrm>
            <a:off x="1692000" y="6526800"/>
            <a:ext cx="4402800" cy="331200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algn="l"/>
            <a:r>
              <a:rPr lang="en-US" sz="1000" b="0" noProof="0">
                <a:solidFill>
                  <a:schemeClr val="accent6"/>
                </a:solidFill>
              </a:rPr>
              <a:t>Siemens Energy is a registered trademark licensed by Siemens AG.</a:t>
            </a:r>
          </a:p>
        </p:txBody>
      </p:sp>
      <p:pic>
        <p:nvPicPr>
          <p:cNvPr id="8" name="Logo">
            <a:extLst>
              <a:ext uri="{FF2B5EF4-FFF2-40B4-BE49-F238E27FC236}">
                <a16:creationId xmlns:a16="http://schemas.microsoft.com/office/drawing/2014/main" id="{8D4FB85B-6B00-4CB9-9A3F-0DA4223A52AE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rcRect/>
          <a:stretch/>
        </p:blipFill>
        <p:spPr bwMode="black">
          <a:xfrm>
            <a:off x="10274163" y="468926"/>
            <a:ext cx="1439999" cy="4968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2626958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color fill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phic">
            <a:extLst>
              <a:ext uri="{FF2B5EF4-FFF2-40B4-BE49-F238E27FC236}">
                <a16:creationId xmlns:a16="http://schemas.microsoft.com/office/drawing/2014/main" id="{FA11A8A9-D061-4109-B5C4-C3047D9EDE1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invGray">
          <a:xfrm>
            <a:off x="0" y="428"/>
            <a:ext cx="12191999" cy="6857143"/>
          </a:xfrm>
          <a:prstGeom prst="rect">
            <a:avLst/>
          </a:prstGeom>
        </p:spPr>
      </p:pic>
      <p:sp>
        <p:nvSpPr>
          <p:cNvPr id="2" name="Title">
            <a:extLst>
              <a:ext uri="{FF2B5EF4-FFF2-40B4-BE49-F238E27FC236}">
                <a16:creationId xmlns:a16="http://schemas.microsoft.com/office/drawing/2014/main" id="{4D270123-9201-40C9-8724-1647E9A0C8F8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627063" y="1414800"/>
            <a:ext cx="8207375" cy="3114000"/>
          </a:xfrm>
        </p:spPr>
        <p:txBody>
          <a:bodyPr lIns="0" tIns="0" bIns="0" anchor="b"/>
          <a:lstStyle>
            <a:lvl1pPr algn="l">
              <a:defRPr sz="44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Subtitle">
            <a:extLst>
              <a:ext uri="{FF2B5EF4-FFF2-40B4-BE49-F238E27FC236}">
                <a16:creationId xmlns:a16="http://schemas.microsoft.com/office/drawing/2014/main" id="{6800291B-8951-48A6-AA08-05DDABDCE8A0}"/>
              </a:ext>
            </a:extLst>
          </p:cNvPr>
          <p:cNvSpPr>
            <a:spLocks noGrp="1"/>
          </p:cNvSpPr>
          <p:nvPr userDrawn="1">
            <p:ph type="subTitle" idx="1" hasCustomPrompt="1"/>
          </p:nvPr>
        </p:nvSpPr>
        <p:spPr>
          <a:xfrm>
            <a:off x="627064" y="4528800"/>
            <a:ext cx="8207374" cy="899252"/>
          </a:xfrm>
        </p:spPr>
        <p:txBody>
          <a:bodyPr lIns="0" tIns="108000" anchor="t">
            <a:noAutofit/>
          </a:bodyPr>
          <a:lstStyle>
            <a:lvl1pPr marL="0" indent="0" algn="l">
              <a:buNone/>
              <a:defRPr sz="15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Presenter of presentation,</a:t>
            </a:r>
            <a:br>
              <a:rPr lang="en-US"/>
            </a:br>
            <a:r>
              <a:rPr lang="en-US"/>
              <a:t>English, Month 2020</a:t>
            </a:r>
          </a:p>
        </p:txBody>
      </p:sp>
      <p:sp>
        <p:nvSpPr>
          <p:cNvPr id="15" name="Copyright">
            <a:extLst>
              <a:ext uri="{FF2B5EF4-FFF2-40B4-BE49-F238E27FC236}">
                <a16:creationId xmlns:a16="http://schemas.microsoft.com/office/drawing/2014/main" id="{43B07ABE-0FDD-4360-94CB-BE49F6F0B457}"/>
              </a:ext>
            </a:extLst>
          </p:cNvPr>
          <p:cNvSpPr txBox="1"/>
          <p:nvPr userDrawn="1"/>
        </p:nvSpPr>
        <p:spPr>
          <a:xfrm>
            <a:off x="6242050" y="6526800"/>
            <a:ext cx="5949950" cy="331200"/>
          </a:xfrm>
          <a:prstGeom prst="rect">
            <a:avLst/>
          </a:prstGeom>
          <a:noFill/>
        </p:spPr>
        <p:txBody>
          <a:bodyPr wrap="square" lIns="626400" tIns="0" rIns="482400" bIns="0" rtlCol="0" anchor="t">
            <a:noAutofit/>
          </a:bodyPr>
          <a:lstStyle/>
          <a:p>
            <a:pPr algn="r"/>
            <a:r>
              <a:rPr lang="en-US" sz="1000" b="0" noProof="0">
                <a:solidFill>
                  <a:schemeClr val="tx1"/>
                </a:solidFill>
              </a:rPr>
              <a:t>Unrestricted © Siemens Energy, 2021</a:t>
            </a:r>
          </a:p>
        </p:txBody>
      </p:sp>
      <p:sp>
        <p:nvSpPr>
          <p:cNvPr id="8" name="License statement">
            <a:extLst>
              <a:ext uri="{FF2B5EF4-FFF2-40B4-BE49-F238E27FC236}">
                <a16:creationId xmlns:a16="http://schemas.microsoft.com/office/drawing/2014/main" id="{C0045C3A-1F21-44D0-8D93-8AC33A04C18C}"/>
              </a:ext>
            </a:extLst>
          </p:cNvPr>
          <p:cNvSpPr txBox="1"/>
          <p:nvPr userDrawn="1"/>
        </p:nvSpPr>
        <p:spPr>
          <a:xfrm>
            <a:off x="627063" y="6526800"/>
            <a:ext cx="5468936" cy="331200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algn="l"/>
            <a:r>
              <a:rPr lang="en-US" sz="1000" b="0" noProof="0">
                <a:solidFill>
                  <a:schemeClr val="accent6"/>
                </a:solidFill>
              </a:rPr>
              <a:t>Siemens Energy is a registered trademark licensed by Siemens AG.</a:t>
            </a:r>
          </a:p>
        </p:txBody>
      </p:sp>
      <p:pic>
        <p:nvPicPr>
          <p:cNvPr id="10" name="Logo">
            <a:extLst>
              <a:ext uri="{FF2B5EF4-FFF2-40B4-BE49-F238E27FC236}">
                <a16:creationId xmlns:a16="http://schemas.microsoft.com/office/drawing/2014/main" id="{BB76785D-9D19-41C9-8176-187EE5D79AE5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 bwMode="black">
          <a:xfrm>
            <a:off x="10274163" y="468926"/>
            <a:ext cx="1440000" cy="4968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3038175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title pictur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Graphic">
            <a:extLst>
              <a:ext uri="{FF2B5EF4-FFF2-40B4-BE49-F238E27FC236}">
                <a16:creationId xmlns:a16="http://schemas.microsoft.com/office/drawing/2014/main" id="{B5D6BABE-C707-41BC-BD10-0E77470B44F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l="19322" t="21730" r="39007" b="36603"/>
          <a:stretch/>
        </p:blipFill>
        <p:spPr bwMode="invGray">
          <a:xfrm>
            <a:off x="1361" y="421"/>
            <a:ext cx="12193200" cy="6858000"/>
          </a:xfrm>
          <a:prstGeom prst="rect">
            <a:avLst/>
          </a:prstGeom>
        </p:spPr>
      </p:pic>
      <p:sp>
        <p:nvSpPr>
          <p:cNvPr id="2" name="Title">
            <a:extLst>
              <a:ext uri="{FF2B5EF4-FFF2-40B4-BE49-F238E27FC236}">
                <a16:creationId xmlns:a16="http://schemas.microsoft.com/office/drawing/2014/main" id="{4D270123-9201-40C9-8724-1647E9A0C8F8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627062" y="1414800"/>
            <a:ext cx="5614988" cy="3114000"/>
          </a:xfrm>
        </p:spPr>
        <p:txBody>
          <a:bodyPr lIns="0" tIns="0" bIns="0" anchor="b"/>
          <a:lstStyle>
            <a:lvl1pPr algn="l">
              <a:defRPr sz="440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hapter divider</a:t>
            </a:r>
          </a:p>
        </p:txBody>
      </p:sp>
      <p:sp>
        <p:nvSpPr>
          <p:cNvPr id="8" name="Subtitle">
            <a:extLst>
              <a:ext uri="{FF2B5EF4-FFF2-40B4-BE49-F238E27FC236}">
                <a16:creationId xmlns:a16="http://schemas.microsoft.com/office/drawing/2014/main" id="{6800291B-8951-48A6-AA08-05DDABDCE8A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27064" y="4528800"/>
            <a:ext cx="5616000" cy="899252"/>
          </a:xfrm>
        </p:spPr>
        <p:txBody>
          <a:bodyPr lIns="0" tIns="108000" anchor="t">
            <a:noAutofit/>
          </a:bodyPr>
          <a:lstStyle>
            <a:lvl1pPr marL="0" indent="0" algn="l">
              <a:buNone/>
              <a:defRPr sz="15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Presenter of presentation,</a:t>
            </a:r>
            <a:br>
              <a:rPr lang="en-US"/>
            </a:br>
            <a:r>
              <a:rPr lang="en-US"/>
              <a:t>English, Month 2020</a:t>
            </a:r>
          </a:p>
        </p:txBody>
      </p:sp>
      <p:sp>
        <p:nvSpPr>
          <p:cNvPr id="21" name="Copyright">
            <a:extLst>
              <a:ext uri="{FF2B5EF4-FFF2-40B4-BE49-F238E27FC236}">
                <a16:creationId xmlns:a16="http://schemas.microsoft.com/office/drawing/2014/main" id="{71CD5254-1CE6-48F0-ABFF-AA178A1005BA}"/>
              </a:ext>
            </a:extLst>
          </p:cNvPr>
          <p:cNvSpPr txBox="1"/>
          <p:nvPr userDrawn="1"/>
        </p:nvSpPr>
        <p:spPr>
          <a:xfrm>
            <a:off x="6242050" y="6526800"/>
            <a:ext cx="5949950" cy="331200"/>
          </a:xfrm>
          <a:prstGeom prst="rect">
            <a:avLst/>
          </a:prstGeom>
          <a:noFill/>
        </p:spPr>
        <p:txBody>
          <a:bodyPr wrap="square" lIns="626400" tIns="0" rIns="482400" bIns="0" rtlCol="0" anchor="t">
            <a:noAutofit/>
          </a:bodyPr>
          <a:lstStyle/>
          <a:p>
            <a:pPr algn="r"/>
            <a:r>
              <a:rPr lang="en-US" sz="1000" b="0" noProof="0">
                <a:solidFill>
                  <a:schemeClr val="tx1"/>
                </a:solidFill>
              </a:rPr>
              <a:t>Unrestricted © Siemens Energy, 2021</a:t>
            </a:r>
          </a:p>
        </p:txBody>
      </p:sp>
      <p:sp>
        <p:nvSpPr>
          <p:cNvPr id="22" name="Page">
            <a:extLst>
              <a:ext uri="{FF2B5EF4-FFF2-40B4-BE49-F238E27FC236}">
                <a16:creationId xmlns:a16="http://schemas.microsoft.com/office/drawing/2014/main" id="{C287CBD3-96E7-4B61-B6DD-46430F096AD8}"/>
              </a:ext>
            </a:extLst>
          </p:cNvPr>
          <p:cNvSpPr txBox="1"/>
          <p:nvPr userDrawn="1"/>
        </p:nvSpPr>
        <p:spPr>
          <a:xfrm>
            <a:off x="11364000" y="6166800"/>
            <a:ext cx="828000" cy="360000"/>
          </a:xfrm>
          <a:prstGeom prst="rect">
            <a:avLst/>
          </a:prstGeom>
          <a:noFill/>
        </p:spPr>
        <p:txBody>
          <a:bodyPr wrap="square" lIns="0" tIns="0" rIns="482400" bIns="36000" rtlCol="0" anchor="b">
            <a:noAutofit/>
          </a:bodyPr>
          <a:lstStyle/>
          <a:p>
            <a:pPr algn="r"/>
            <a:fld id="{6F7EFBA6-8CEB-40F4-B709-F27F7004ACFC}" type="slidenum">
              <a:rPr lang="en-US" sz="1000" b="1" noProof="0" smtClean="0">
                <a:solidFill>
                  <a:schemeClr val="tx1"/>
                </a:solidFill>
              </a:rPr>
              <a:t>‹Nr.›</a:t>
            </a:fld>
            <a:endParaRPr lang="en-US" sz="1000" b="1" noProof="0">
              <a:solidFill>
                <a:schemeClr val="tx1"/>
              </a:solidFill>
            </a:endParaRPr>
          </a:p>
        </p:txBody>
      </p:sp>
      <p:sp>
        <p:nvSpPr>
          <p:cNvPr id="23" name="Date">
            <a:extLst>
              <a:ext uri="{FF2B5EF4-FFF2-40B4-BE49-F238E27FC236}">
                <a16:creationId xmlns:a16="http://schemas.microsoft.com/office/drawing/2014/main" id="{0108D4AB-9688-41D1-B0EE-85800E673924}"/>
              </a:ext>
            </a:extLst>
          </p:cNvPr>
          <p:cNvSpPr txBox="1"/>
          <p:nvPr userDrawn="1"/>
        </p:nvSpPr>
        <p:spPr>
          <a:xfrm>
            <a:off x="-1" y="6526800"/>
            <a:ext cx="1692000" cy="331200"/>
          </a:xfrm>
          <a:prstGeom prst="rect">
            <a:avLst/>
          </a:prstGeom>
          <a:noFill/>
        </p:spPr>
        <p:txBody>
          <a:bodyPr wrap="square" lIns="626400" tIns="0" rIns="0" bIns="0" rtlCol="0" anchor="t">
            <a:noAutofit/>
          </a:bodyPr>
          <a:lstStyle/>
          <a:p>
            <a:pPr algn="l"/>
            <a:r>
              <a:rPr lang="en-US" sz="1000" b="0" noProof="0">
                <a:solidFill>
                  <a:schemeClr val="tx1"/>
                </a:solidFill>
              </a:rPr>
              <a:t>2021-07-27</a:t>
            </a:r>
          </a:p>
        </p:txBody>
      </p:sp>
      <p:sp>
        <p:nvSpPr>
          <p:cNvPr id="11" name="License statement">
            <a:extLst>
              <a:ext uri="{FF2B5EF4-FFF2-40B4-BE49-F238E27FC236}">
                <a16:creationId xmlns:a16="http://schemas.microsoft.com/office/drawing/2014/main" id="{212F44C2-86F0-4F8F-80A6-4ED7F591836A}"/>
              </a:ext>
            </a:extLst>
          </p:cNvPr>
          <p:cNvSpPr txBox="1"/>
          <p:nvPr userDrawn="1"/>
        </p:nvSpPr>
        <p:spPr>
          <a:xfrm>
            <a:off x="1692000" y="6526800"/>
            <a:ext cx="4402800" cy="331200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algn="l"/>
            <a:r>
              <a:rPr lang="en-US" sz="1000" b="0" noProof="0">
                <a:solidFill>
                  <a:schemeClr val="accent6"/>
                </a:solidFill>
              </a:rPr>
              <a:t>Siemens Energy is a registered trademark licensed by Siemens AG.</a:t>
            </a:r>
          </a:p>
        </p:txBody>
      </p:sp>
      <p:pic>
        <p:nvPicPr>
          <p:cNvPr id="13" name="Logo">
            <a:extLst>
              <a:ext uri="{FF2B5EF4-FFF2-40B4-BE49-F238E27FC236}">
                <a16:creationId xmlns:a16="http://schemas.microsoft.com/office/drawing/2014/main" id="{1DC56BA1-A850-4AE0-A568-3D4B1B2442B8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rcRect/>
          <a:stretch/>
        </p:blipFill>
        <p:spPr bwMode="black">
          <a:xfrm>
            <a:off x="10274163" y="468926"/>
            <a:ext cx="1440000" cy="4968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4854178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title picture 2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Graphic">
            <a:extLst>
              <a:ext uri="{FF2B5EF4-FFF2-40B4-BE49-F238E27FC236}">
                <a16:creationId xmlns:a16="http://schemas.microsoft.com/office/drawing/2014/main" id="{048807C0-F913-457F-BC6F-5FF8BB950F3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l="17845" t="23917" r="40484" b="34416"/>
          <a:stretch/>
        </p:blipFill>
        <p:spPr bwMode="invGray">
          <a:xfrm>
            <a:off x="0" y="636"/>
            <a:ext cx="12193200" cy="6858000"/>
          </a:xfrm>
          <a:prstGeom prst="rect">
            <a:avLst/>
          </a:prstGeom>
        </p:spPr>
      </p:pic>
      <p:sp>
        <p:nvSpPr>
          <p:cNvPr id="2" name="Title">
            <a:extLst>
              <a:ext uri="{FF2B5EF4-FFF2-40B4-BE49-F238E27FC236}">
                <a16:creationId xmlns:a16="http://schemas.microsoft.com/office/drawing/2014/main" id="{4D270123-9201-40C9-8724-1647E9A0C8F8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627062" y="1414800"/>
            <a:ext cx="5614988" cy="3114000"/>
          </a:xfrm>
        </p:spPr>
        <p:txBody>
          <a:bodyPr lIns="0" tIns="0" bIns="0" anchor="b"/>
          <a:lstStyle>
            <a:lvl1pPr algn="l">
              <a:defRPr sz="440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hapter divider</a:t>
            </a:r>
          </a:p>
        </p:txBody>
      </p:sp>
      <p:sp>
        <p:nvSpPr>
          <p:cNvPr id="8" name="Subtitle">
            <a:extLst>
              <a:ext uri="{FF2B5EF4-FFF2-40B4-BE49-F238E27FC236}">
                <a16:creationId xmlns:a16="http://schemas.microsoft.com/office/drawing/2014/main" id="{6800291B-8951-48A6-AA08-05DDABDCE8A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27064" y="4528800"/>
            <a:ext cx="5616000" cy="899252"/>
          </a:xfrm>
        </p:spPr>
        <p:txBody>
          <a:bodyPr lIns="0" tIns="108000" anchor="t">
            <a:noAutofit/>
          </a:bodyPr>
          <a:lstStyle>
            <a:lvl1pPr marL="0" indent="0" algn="l">
              <a:buNone/>
              <a:defRPr sz="15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Presenter of presentation,</a:t>
            </a:r>
            <a:br>
              <a:rPr lang="en-US"/>
            </a:br>
            <a:r>
              <a:rPr lang="en-US"/>
              <a:t>English, Month 2020</a:t>
            </a:r>
          </a:p>
        </p:txBody>
      </p:sp>
      <p:sp>
        <p:nvSpPr>
          <p:cNvPr id="20" name="Author | Department">
            <a:extLst>
              <a:ext uri="{FF2B5EF4-FFF2-40B4-BE49-F238E27FC236}">
                <a16:creationId xmlns:a16="http://schemas.microsoft.com/office/drawing/2014/main" id="{B5C9B423-8001-4689-BDBF-2B86ECB92366}"/>
              </a:ext>
            </a:extLst>
          </p:cNvPr>
          <p:cNvSpPr txBox="1"/>
          <p:nvPr userDrawn="1"/>
        </p:nvSpPr>
        <p:spPr>
          <a:xfrm>
            <a:off x="6242050" y="6166800"/>
            <a:ext cx="5949950" cy="360000"/>
          </a:xfrm>
          <a:prstGeom prst="rect">
            <a:avLst/>
          </a:prstGeom>
          <a:noFill/>
        </p:spPr>
        <p:txBody>
          <a:bodyPr wrap="square" lIns="0" tIns="0" rIns="835200" bIns="36000" rtlCol="0" anchor="b">
            <a:noAutofit/>
          </a:bodyPr>
          <a:lstStyle/>
          <a:p>
            <a:pPr algn="r"/>
            <a:r>
              <a:rPr lang="en-US" sz="1000" b="0" noProof="0">
                <a:solidFill>
                  <a:schemeClr val="tx1"/>
                </a:solidFill>
              </a:rPr>
              <a:t>Author | Department</a:t>
            </a:r>
          </a:p>
        </p:txBody>
      </p:sp>
      <p:sp>
        <p:nvSpPr>
          <p:cNvPr id="21" name="Copyright">
            <a:extLst>
              <a:ext uri="{FF2B5EF4-FFF2-40B4-BE49-F238E27FC236}">
                <a16:creationId xmlns:a16="http://schemas.microsoft.com/office/drawing/2014/main" id="{71CD5254-1CE6-48F0-ABFF-AA178A1005BA}"/>
              </a:ext>
            </a:extLst>
          </p:cNvPr>
          <p:cNvSpPr txBox="1"/>
          <p:nvPr userDrawn="1"/>
        </p:nvSpPr>
        <p:spPr>
          <a:xfrm>
            <a:off x="6242050" y="6526800"/>
            <a:ext cx="5949950" cy="331200"/>
          </a:xfrm>
          <a:prstGeom prst="rect">
            <a:avLst/>
          </a:prstGeom>
          <a:noFill/>
        </p:spPr>
        <p:txBody>
          <a:bodyPr wrap="square" lIns="626400" tIns="0" rIns="482400" bIns="0" rtlCol="0" anchor="t">
            <a:noAutofit/>
          </a:bodyPr>
          <a:lstStyle/>
          <a:p>
            <a:pPr algn="r"/>
            <a:r>
              <a:rPr lang="en-US" sz="1000" b="0" noProof="0">
                <a:solidFill>
                  <a:schemeClr val="tx1"/>
                </a:solidFill>
              </a:rPr>
              <a:t>Unrestricted © Siemens Energy, 2021</a:t>
            </a:r>
          </a:p>
        </p:txBody>
      </p:sp>
      <p:sp>
        <p:nvSpPr>
          <p:cNvPr id="22" name="Page">
            <a:extLst>
              <a:ext uri="{FF2B5EF4-FFF2-40B4-BE49-F238E27FC236}">
                <a16:creationId xmlns:a16="http://schemas.microsoft.com/office/drawing/2014/main" id="{C287CBD3-96E7-4B61-B6DD-46430F096AD8}"/>
              </a:ext>
            </a:extLst>
          </p:cNvPr>
          <p:cNvSpPr txBox="1"/>
          <p:nvPr userDrawn="1"/>
        </p:nvSpPr>
        <p:spPr>
          <a:xfrm>
            <a:off x="11364000" y="6166800"/>
            <a:ext cx="828000" cy="360000"/>
          </a:xfrm>
          <a:prstGeom prst="rect">
            <a:avLst/>
          </a:prstGeom>
          <a:noFill/>
        </p:spPr>
        <p:txBody>
          <a:bodyPr wrap="square" lIns="0" tIns="0" rIns="482400" bIns="36000" rtlCol="0" anchor="b">
            <a:noAutofit/>
          </a:bodyPr>
          <a:lstStyle/>
          <a:p>
            <a:pPr algn="r"/>
            <a:fld id="{6F7EFBA6-8CEB-40F4-B709-F27F7004ACFC}" type="slidenum">
              <a:rPr lang="en-US" sz="1000" b="1" noProof="0" smtClean="0">
                <a:solidFill>
                  <a:schemeClr val="tx1"/>
                </a:solidFill>
              </a:rPr>
              <a:t>‹Nr.›</a:t>
            </a:fld>
            <a:endParaRPr lang="en-US" sz="1000" b="1" noProof="0">
              <a:solidFill>
                <a:schemeClr val="tx1"/>
              </a:solidFill>
            </a:endParaRPr>
          </a:p>
        </p:txBody>
      </p:sp>
      <p:sp>
        <p:nvSpPr>
          <p:cNvPr id="13" name="Date">
            <a:extLst>
              <a:ext uri="{FF2B5EF4-FFF2-40B4-BE49-F238E27FC236}">
                <a16:creationId xmlns:a16="http://schemas.microsoft.com/office/drawing/2014/main" id="{1DE39B38-513C-4C4B-9F03-FC4B2D200743}"/>
              </a:ext>
            </a:extLst>
          </p:cNvPr>
          <p:cNvSpPr txBox="1"/>
          <p:nvPr userDrawn="1"/>
        </p:nvSpPr>
        <p:spPr>
          <a:xfrm>
            <a:off x="-1" y="6526800"/>
            <a:ext cx="1692000" cy="331200"/>
          </a:xfrm>
          <a:prstGeom prst="rect">
            <a:avLst/>
          </a:prstGeom>
          <a:noFill/>
        </p:spPr>
        <p:txBody>
          <a:bodyPr wrap="square" lIns="626400" tIns="0" rIns="0" bIns="0" rtlCol="0" anchor="t">
            <a:noAutofit/>
          </a:bodyPr>
          <a:lstStyle/>
          <a:p>
            <a:pPr algn="l"/>
            <a:r>
              <a:rPr lang="en-US" sz="1000" b="0" noProof="0">
                <a:solidFill>
                  <a:schemeClr val="tx1"/>
                </a:solidFill>
              </a:rPr>
              <a:t>YYYY-MM-DD</a:t>
            </a:r>
          </a:p>
        </p:txBody>
      </p:sp>
      <p:sp>
        <p:nvSpPr>
          <p:cNvPr id="15" name="License statement">
            <a:extLst>
              <a:ext uri="{FF2B5EF4-FFF2-40B4-BE49-F238E27FC236}">
                <a16:creationId xmlns:a16="http://schemas.microsoft.com/office/drawing/2014/main" id="{B1801D01-5487-4711-ADA6-1F6955CFB9B8}"/>
              </a:ext>
            </a:extLst>
          </p:cNvPr>
          <p:cNvSpPr txBox="1"/>
          <p:nvPr userDrawn="1"/>
        </p:nvSpPr>
        <p:spPr>
          <a:xfrm>
            <a:off x="1692000" y="6526800"/>
            <a:ext cx="4402800" cy="331200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algn="l"/>
            <a:r>
              <a:rPr lang="en-US" sz="1000" b="0" noProof="0">
                <a:solidFill>
                  <a:schemeClr val="accent6"/>
                </a:solidFill>
              </a:rPr>
              <a:t>Siemens Energy is a registered trademark licensed by Siemens AG.</a:t>
            </a:r>
          </a:p>
        </p:txBody>
      </p:sp>
      <p:pic>
        <p:nvPicPr>
          <p:cNvPr id="12" name="Logo">
            <a:extLst>
              <a:ext uri="{FF2B5EF4-FFF2-40B4-BE49-F238E27FC236}">
                <a16:creationId xmlns:a16="http://schemas.microsoft.com/office/drawing/2014/main" id="{8DBB9C8C-1FFC-4C10-8923-5BB14464CDFA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rcRect/>
          <a:stretch/>
        </p:blipFill>
        <p:spPr bwMode="black">
          <a:xfrm>
            <a:off x="10274163" y="468926"/>
            <a:ext cx="1440000" cy="4968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2252184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title picture 3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Graphic">
            <a:extLst>
              <a:ext uri="{FF2B5EF4-FFF2-40B4-BE49-F238E27FC236}">
                <a16:creationId xmlns:a16="http://schemas.microsoft.com/office/drawing/2014/main" id="{53CB57DE-2231-4FB5-89CE-5E957E5B7EE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l="20183" t="26979" r="38146" b="31354"/>
          <a:stretch/>
        </p:blipFill>
        <p:spPr bwMode="invGray">
          <a:xfrm>
            <a:off x="1358" y="424"/>
            <a:ext cx="12193200" cy="6858000"/>
          </a:xfrm>
          <a:prstGeom prst="rect">
            <a:avLst/>
          </a:prstGeom>
        </p:spPr>
      </p:pic>
      <p:sp>
        <p:nvSpPr>
          <p:cNvPr id="2" name="Title">
            <a:extLst>
              <a:ext uri="{FF2B5EF4-FFF2-40B4-BE49-F238E27FC236}">
                <a16:creationId xmlns:a16="http://schemas.microsoft.com/office/drawing/2014/main" id="{4D270123-9201-40C9-8724-1647E9A0C8F8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627062" y="1414800"/>
            <a:ext cx="5614988" cy="3114000"/>
          </a:xfrm>
        </p:spPr>
        <p:txBody>
          <a:bodyPr lIns="0" tIns="0" bIns="0" anchor="b"/>
          <a:lstStyle>
            <a:lvl1pPr algn="l">
              <a:defRPr sz="440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hapter divider</a:t>
            </a:r>
          </a:p>
        </p:txBody>
      </p:sp>
      <p:sp>
        <p:nvSpPr>
          <p:cNvPr id="8" name="Subtitle">
            <a:extLst>
              <a:ext uri="{FF2B5EF4-FFF2-40B4-BE49-F238E27FC236}">
                <a16:creationId xmlns:a16="http://schemas.microsoft.com/office/drawing/2014/main" id="{6800291B-8951-48A6-AA08-05DDABDCE8A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27064" y="4528800"/>
            <a:ext cx="5616000" cy="899252"/>
          </a:xfrm>
        </p:spPr>
        <p:txBody>
          <a:bodyPr lIns="0" tIns="108000" anchor="t">
            <a:noAutofit/>
          </a:bodyPr>
          <a:lstStyle>
            <a:lvl1pPr marL="0" indent="0" algn="l">
              <a:buNone/>
              <a:defRPr sz="15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Presenter of presentation,</a:t>
            </a:r>
            <a:br>
              <a:rPr lang="en-US"/>
            </a:br>
            <a:r>
              <a:rPr lang="en-US"/>
              <a:t>English, Month 2020</a:t>
            </a:r>
          </a:p>
        </p:txBody>
      </p:sp>
      <p:sp>
        <p:nvSpPr>
          <p:cNvPr id="20" name="Author | Department">
            <a:extLst>
              <a:ext uri="{FF2B5EF4-FFF2-40B4-BE49-F238E27FC236}">
                <a16:creationId xmlns:a16="http://schemas.microsoft.com/office/drawing/2014/main" id="{B5C9B423-8001-4689-BDBF-2B86ECB92366}"/>
              </a:ext>
            </a:extLst>
          </p:cNvPr>
          <p:cNvSpPr txBox="1"/>
          <p:nvPr userDrawn="1"/>
        </p:nvSpPr>
        <p:spPr>
          <a:xfrm>
            <a:off x="6242050" y="6166800"/>
            <a:ext cx="5949950" cy="360000"/>
          </a:xfrm>
          <a:prstGeom prst="rect">
            <a:avLst/>
          </a:prstGeom>
          <a:noFill/>
        </p:spPr>
        <p:txBody>
          <a:bodyPr wrap="square" lIns="0" tIns="0" rIns="835200" bIns="36000" rtlCol="0" anchor="b">
            <a:noAutofit/>
          </a:bodyPr>
          <a:lstStyle/>
          <a:p>
            <a:pPr algn="r"/>
            <a:r>
              <a:rPr lang="en-US" sz="1000" b="0" noProof="0">
                <a:solidFill>
                  <a:schemeClr val="tx1"/>
                </a:solidFill>
              </a:rPr>
              <a:t>Author | Department</a:t>
            </a:r>
          </a:p>
        </p:txBody>
      </p:sp>
      <p:sp>
        <p:nvSpPr>
          <p:cNvPr id="21" name="Copyright">
            <a:extLst>
              <a:ext uri="{FF2B5EF4-FFF2-40B4-BE49-F238E27FC236}">
                <a16:creationId xmlns:a16="http://schemas.microsoft.com/office/drawing/2014/main" id="{71CD5254-1CE6-48F0-ABFF-AA178A1005BA}"/>
              </a:ext>
            </a:extLst>
          </p:cNvPr>
          <p:cNvSpPr txBox="1"/>
          <p:nvPr userDrawn="1"/>
        </p:nvSpPr>
        <p:spPr>
          <a:xfrm>
            <a:off x="6242050" y="6526800"/>
            <a:ext cx="5949950" cy="331200"/>
          </a:xfrm>
          <a:prstGeom prst="rect">
            <a:avLst/>
          </a:prstGeom>
          <a:noFill/>
        </p:spPr>
        <p:txBody>
          <a:bodyPr wrap="square" lIns="626400" tIns="0" rIns="482400" bIns="0" rtlCol="0" anchor="t">
            <a:noAutofit/>
          </a:bodyPr>
          <a:lstStyle/>
          <a:p>
            <a:pPr algn="r"/>
            <a:r>
              <a:rPr lang="en-US" sz="1000" b="0" noProof="0">
                <a:solidFill>
                  <a:schemeClr val="tx1"/>
                </a:solidFill>
              </a:rPr>
              <a:t>Unrestricted © Siemens Energy, 2021</a:t>
            </a:r>
          </a:p>
        </p:txBody>
      </p:sp>
      <p:sp>
        <p:nvSpPr>
          <p:cNvPr id="22" name="Page">
            <a:extLst>
              <a:ext uri="{FF2B5EF4-FFF2-40B4-BE49-F238E27FC236}">
                <a16:creationId xmlns:a16="http://schemas.microsoft.com/office/drawing/2014/main" id="{C287CBD3-96E7-4B61-B6DD-46430F096AD8}"/>
              </a:ext>
            </a:extLst>
          </p:cNvPr>
          <p:cNvSpPr txBox="1"/>
          <p:nvPr userDrawn="1"/>
        </p:nvSpPr>
        <p:spPr>
          <a:xfrm>
            <a:off x="11364000" y="6166800"/>
            <a:ext cx="828000" cy="360000"/>
          </a:xfrm>
          <a:prstGeom prst="rect">
            <a:avLst/>
          </a:prstGeom>
          <a:noFill/>
        </p:spPr>
        <p:txBody>
          <a:bodyPr wrap="square" lIns="0" tIns="0" rIns="482400" bIns="36000" rtlCol="0" anchor="b">
            <a:noAutofit/>
          </a:bodyPr>
          <a:lstStyle/>
          <a:p>
            <a:pPr algn="r"/>
            <a:fld id="{6F7EFBA6-8CEB-40F4-B709-F27F7004ACFC}" type="slidenum">
              <a:rPr lang="en-US" sz="1000" b="1" noProof="0" smtClean="0">
                <a:solidFill>
                  <a:schemeClr val="tx1"/>
                </a:solidFill>
              </a:rPr>
              <a:t>‹Nr.›</a:t>
            </a:fld>
            <a:endParaRPr lang="en-US" sz="1000" b="1" noProof="0">
              <a:solidFill>
                <a:schemeClr val="tx1"/>
              </a:solidFill>
            </a:endParaRPr>
          </a:p>
        </p:txBody>
      </p:sp>
      <p:sp>
        <p:nvSpPr>
          <p:cNvPr id="13" name="Date">
            <a:extLst>
              <a:ext uri="{FF2B5EF4-FFF2-40B4-BE49-F238E27FC236}">
                <a16:creationId xmlns:a16="http://schemas.microsoft.com/office/drawing/2014/main" id="{DB1A54EC-A3D1-455B-9B10-BD6E66386C62}"/>
              </a:ext>
            </a:extLst>
          </p:cNvPr>
          <p:cNvSpPr txBox="1"/>
          <p:nvPr userDrawn="1"/>
        </p:nvSpPr>
        <p:spPr>
          <a:xfrm>
            <a:off x="-1" y="6526800"/>
            <a:ext cx="1692000" cy="331200"/>
          </a:xfrm>
          <a:prstGeom prst="rect">
            <a:avLst/>
          </a:prstGeom>
          <a:noFill/>
        </p:spPr>
        <p:txBody>
          <a:bodyPr wrap="square" lIns="626400" tIns="0" rIns="0" bIns="0" rtlCol="0" anchor="t">
            <a:noAutofit/>
          </a:bodyPr>
          <a:lstStyle/>
          <a:p>
            <a:pPr algn="l"/>
            <a:r>
              <a:rPr lang="en-US" sz="1000" b="0" noProof="0">
                <a:solidFill>
                  <a:schemeClr val="tx1"/>
                </a:solidFill>
              </a:rPr>
              <a:t>YYYY-MM-DD</a:t>
            </a:r>
          </a:p>
        </p:txBody>
      </p:sp>
      <p:sp>
        <p:nvSpPr>
          <p:cNvPr id="15" name="License statement">
            <a:extLst>
              <a:ext uri="{FF2B5EF4-FFF2-40B4-BE49-F238E27FC236}">
                <a16:creationId xmlns:a16="http://schemas.microsoft.com/office/drawing/2014/main" id="{856ED8E8-9807-4F50-A174-877DAAC140D0}"/>
              </a:ext>
            </a:extLst>
          </p:cNvPr>
          <p:cNvSpPr txBox="1"/>
          <p:nvPr userDrawn="1"/>
        </p:nvSpPr>
        <p:spPr>
          <a:xfrm>
            <a:off x="1692000" y="6526800"/>
            <a:ext cx="4402800" cy="331200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algn="l"/>
            <a:r>
              <a:rPr lang="en-US" sz="1000" b="0" noProof="0">
                <a:solidFill>
                  <a:schemeClr val="accent6"/>
                </a:solidFill>
              </a:rPr>
              <a:t>Siemens Energy is a registered trademark licensed by Siemens AG.</a:t>
            </a:r>
          </a:p>
        </p:txBody>
      </p:sp>
      <p:pic>
        <p:nvPicPr>
          <p:cNvPr id="11" name="Logo">
            <a:extLst>
              <a:ext uri="{FF2B5EF4-FFF2-40B4-BE49-F238E27FC236}">
                <a16:creationId xmlns:a16="http://schemas.microsoft.com/office/drawing/2014/main" id="{56610667-D1F1-4DB1-8951-934EF4B90CE5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rcRect/>
          <a:stretch/>
        </p:blipFill>
        <p:spPr bwMode="black">
          <a:xfrm>
            <a:off x="10274163" y="468926"/>
            <a:ext cx="1440000" cy="4968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5645900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title picture 4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Graphic">
            <a:extLst>
              <a:ext uri="{FF2B5EF4-FFF2-40B4-BE49-F238E27FC236}">
                <a16:creationId xmlns:a16="http://schemas.microsoft.com/office/drawing/2014/main" id="{CDC7F29D-098B-44AE-92AB-834812CDDFB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l="21675" t="21705" r="36127" b="36101"/>
          <a:stretch/>
        </p:blipFill>
        <p:spPr bwMode="invGray">
          <a:xfrm>
            <a:off x="0" y="424"/>
            <a:ext cx="12193200" cy="6858000"/>
          </a:xfrm>
          <a:prstGeom prst="rect">
            <a:avLst/>
          </a:prstGeom>
        </p:spPr>
      </p:pic>
      <p:sp>
        <p:nvSpPr>
          <p:cNvPr id="2" name="Title">
            <a:extLst>
              <a:ext uri="{FF2B5EF4-FFF2-40B4-BE49-F238E27FC236}">
                <a16:creationId xmlns:a16="http://schemas.microsoft.com/office/drawing/2014/main" id="{4D270123-9201-40C9-8724-1647E9A0C8F8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627062" y="1414800"/>
            <a:ext cx="5614988" cy="3114000"/>
          </a:xfrm>
        </p:spPr>
        <p:txBody>
          <a:bodyPr lIns="0" tIns="0" bIns="0" anchor="b"/>
          <a:lstStyle>
            <a:lvl1pPr algn="l">
              <a:defRPr sz="440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hapter divider</a:t>
            </a:r>
          </a:p>
        </p:txBody>
      </p:sp>
      <p:sp>
        <p:nvSpPr>
          <p:cNvPr id="8" name="Subtitle">
            <a:extLst>
              <a:ext uri="{FF2B5EF4-FFF2-40B4-BE49-F238E27FC236}">
                <a16:creationId xmlns:a16="http://schemas.microsoft.com/office/drawing/2014/main" id="{6800291B-8951-48A6-AA08-05DDABDCE8A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27064" y="4528800"/>
            <a:ext cx="5616000" cy="899252"/>
          </a:xfrm>
        </p:spPr>
        <p:txBody>
          <a:bodyPr lIns="0" tIns="108000" anchor="t">
            <a:noAutofit/>
          </a:bodyPr>
          <a:lstStyle>
            <a:lvl1pPr marL="0" indent="0" algn="l">
              <a:buNone/>
              <a:defRPr sz="15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Presenter of presentation,</a:t>
            </a:r>
            <a:br>
              <a:rPr lang="en-US"/>
            </a:br>
            <a:r>
              <a:rPr lang="en-US"/>
              <a:t>English, Month 2020</a:t>
            </a:r>
          </a:p>
        </p:txBody>
      </p:sp>
      <p:sp>
        <p:nvSpPr>
          <p:cNvPr id="20" name="Author | Department">
            <a:extLst>
              <a:ext uri="{FF2B5EF4-FFF2-40B4-BE49-F238E27FC236}">
                <a16:creationId xmlns:a16="http://schemas.microsoft.com/office/drawing/2014/main" id="{B5C9B423-8001-4689-BDBF-2B86ECB92366}"/>
              </a:ext>
            </a:extLst>
          </p:cNvPr>
          <p:cNvSpPr txBox="1"/>
          <p:nvPr userDrawn="1"/>
        </p:nvSpPr>
        <p:spPr>
          <a:xfrm>
            <a:off x="6242050" y="6166800"/>
            <a:ext cx="5949950" cy="360000"/>
          </a:xfrm>
          <a:prstGeom prst="rect">
            <a:avLst/>
          </a:prstGeom>
          <a:noFill/>
        </p:spPr>
        <p:txBody>
          <a:bodyPr wrap="square" lIns="0" tIns="0" rIns="835200" bIns="36000" rtlCol="0" anchor="b">
            <a:noAutofit/>
          </a:bodyPr>
          <a:lstStyle/>
          <a:p>
            <a:pPr algn="r"/>
            <a:r>
              <a:rPr lang="en-US" sz="1000" b="0" noProof="0">
                <a:solidFill>
                  <a:schemeClr val="tx1"/>
                </a:solidFill>
              </a:rPr>
              <a:t>Author | Department</a:t>
            </a:r>
          </a:p>
        </p:txBody>
      </p:sp>
      <p:sp>
        <p:nvSpPr>
          <p:cNvPr id="21" name="Copyright">
            <a:extLst>
              <a:ext uri="{FF2B5EF4-FFF2-40B4-BE49-F238E27FC236}">
                <a16:creationId xmlns:a16="http://schemas.microsoft.com/office/drawing/2014/main" id="{71CD5254-1CE6-48F0-ABFF-AA178A1005BA}"/>
              </a:ext>
            </a:extLst>
          </p:cNvPr>
          <p:cNvSpPr txBox="1"/>
          <p:nvPr userDrawn="1"/>
        </p:nvSpPr>
        <p:spPr>
          <a:xfrm>
            <a:off x="6242050" y="6526800"/>
            <a:ext cx="5949950" cy="331200"/>
          </a:xfrm>
          <a:prstGeom prst="rect">
            <a:avLst/>
          </a:prstGeom>
          <a:noFill/>
        </p:spPr>
        <p:txBody>
          <a:bodyPr wrap="square" lIns="626400" tIns="0" rIns="482400" bIns="0" rtlCol="0" anchor="t">
            <a:noAutofit/>
          </a:bodyPr>
          <a:lstStyle/>
          <a:p>
            <a:pPr algn="r"/>
            <a:r>
              <a:rPr lang="en-US" sz="1000" b="0" noProof="0">
                <a:solidFill>
                  <a:schemeClr val="tx1"/>
                </a:solidFill>
              </a:rPr>
              <a:t>Unrestricted © Siemens Energy, 2021</a:t>
            </a:r>
          </a:p>
        </p:txBody>
      </p:sp>
      <p:sp>
        <p:nvSpPr>
          <p:cNvPr id="22" name="Page">
            <a:extLst>
              <a:ext uri="{FF2B5EF4-FFF2-40B4-BE49-F238E27FC236}">
                <a16:creationId xmlns:a16="http://schemas.microsoft.com/office/drawing/2014/main" id="{C287CBD3-96E7-4B61-B6DD-46430F096AD8}"/>
              </a:ext>
            </a:extLst>
          </p:cNvPr>
          <p:cNvSpPr txBox="1"/>
          <p:nvPr userDrawn="1"/>
        </p:nvSpPr>
        <p:spPr>
          <a:xfrm>
            <a:off x="11364000" y="6166800"/>
            <a:ext cx="828000" cy="360000"/>
          </a:xfrm>
          <a:prstGeom prst="rect">
            <a:avLst/>
          </a:prstGeom>
          <a:noFill/>
        </p:spPr>
        <p:txBody>
          <a:bodyPr wrap="square" lIns="0" tIns="0" rIns="482400" bIns="36000" rtlCol="0" anchor="b">
            <a:noAutofit/>
          </a:bodyPr>
          <a:lstStyle/>
          <a:p>
            <a:pPr algn="r"/>
            <a:fld id="{6F7EFBA6-8CEB-40F4-B709-F27F7004ACFC}" type="slidenum">
              <a:rPr lang="en-US" sz="1000" b="1" noProof="0" smtClean="0">
                <a:solidFill>
                  <a:schemeClr val="tx1"/>
                </a:solidFill>
              </a:rPr>
              <a:t>‹Nr.›</a:t>
            </a:fld>
            <a:endParaRPr lang="en-US" sz="1000" b="1" noProof="0">
              <a:solidFill>
                <a:schemeClr val="tx1"/>
              </a:solidFill>
            </a:endParaRPr>
          </a:p>
        </p:txBody>
      </p:sp>
      <p:sp>
        <p:nvSpPr>
          <p:cNvPr id="13" name="Date">
            <a:extLst>
              <a:ext uri="{FF2B5EF4-FFF2-40B4-BE49-F238E27FC236}">
                <a16:creationId xmlns:a16="http://schemas.microsoft.com/office/drawing/2014/main" id="{6087BB6B-DC15-4BC4-A21C-1782CB4DA419}"/>
              </a:ext>
            </a:extLst>
          </p:cNvPr>
          <p:cNvSpPr txBox="1"/>
          <p:nvPr userDrawn="1"/>
        </p:nvSpPr>
        <p:spPr>
          <a:xfrm>
            <a:off x="-1" y="6526800"/>
            <a:ext cx="1692000" cy="331200"/>
          </a:xfrm>
          <a:prstGeom prst="rect">
            <a:avLst/>
          </a:prstGeom>
          <a:noFill/>
        </p:spPr>
        <p:txBody>
          <a:bodyPr wrap="square" lIns="626400" tIns="0" rIns="0" bIns="0" rtlCol="0" anchor="t">
            <a:noAutofit/>
          </a:bodyPr>
          <a:lstStyle/>
          <a:p>
            <a:pPr algn="l"/>
            <a:r>
              <a:rPr lang="en-US" sz="1000" b="0" noProof="0">
                <a:solidFill>
                  <a:schemeClr val="tx1"/>
                </a:solidFill>
              </a:rPr>
              <a:t>YYYY-MM-DD</a:t>
            </a:r>
          </a:p>
        </p:txBody>
      </p:sp>
      <p:sp>
        <p:nvSpPr>
          <p:cNvPr id="15" name="License statement">
            <a:extLst>
              <a:ext uri="{FF2B5EF4-FFF2-40B4-BE49-F238E27FC236}">
                <a16:creationId xmlns:a16="http://schemas.microsoft.com/office/drawing/2014/main" id="{E9F4ECED-AAEC-41AE-AE05-A9B81D388383}"/>
              </a:ext>
            </a:extLst>
          </p:cNvPr>
          <p:cNvSpPr txBox="1"/>
          <p:nvPr userDrawn="1"/>
        </p:nvSpPr>
        <p:spPr>
          <a:xfrm>
            <a:off x="1692000" y="6526800"/>
            <a:ext cx="4402800" cy="331200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algn="l"/>
            <a:r>
              <a:rPr lang="en-US" sz="1000" b="0" noProof="0">
                <a:solidFill>
                  <a:schemeClr val="accent6"/>
                </a:solidFill>
              </a:rPr>
              <a:t>Siemens Energy is a registered trademark licensed by Siemens AG.</a:t>
            </a:r>
          </a:p>
        </p:txBody>
      </p:sp>
      <p:pic>
        <p:nvPicPr>
          <p:cNvPr id="12" name="Logo">
            <a:extLst>
              <a:ext uri="{FF2B5EF4-FFF2-40B4-BE49-F238E27FC236}">
                <a16:creationId xmlns:a16="http://schemas.microsoft.com/office/drawing/2014/main" id="{F208A3C6-5ED3-47CD-95C4-12C8971DEF08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rcRect/>
          <a:stretch/>
        </p:blipFill>
        <p:spPr bwMode="black">
          <a:xfrm>
            <a:off x="10274163" y="468926"/>
            <a:ext cx="1440000" cy="4968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6600288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DF6C5D22-2D05-436C-B3FF-684C0326B5D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" y="1"/>
            <a:ext cx="9659938" cy="1414800"/>
          </a:xfrm>
          <a:prstGeom prst="rect">
            <a:avLst/>
          </a:prstGeom>
        </p:spPr>
        <p:txBody>
          <a:bodyPr vert="horz" lIns="626400" tIns="378000" rIns="0" bIns="0" rtlCol="0" anchor="t" anchorCtr="0">
            <a:noAutofit/>
          </a:bodyPr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3" name="Copy">
            <a:extLst>
              <a:ext uri="{FF2B5EF4-FFF2-40B4-BE49-F238E27FC236}">
                <a16:creationId xmlns:a16="http://schemas.microsoft.com/office/drawing/2014/main" id="{93E46A9A-BF3F-41A6-ABFA-1F80C067E13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7063" y="1414800"/>
            <a:ext cx="8207375" cy="475297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7" name="Author | Department">
            <a:extLst>
              <a:ext uri="{FF2B5EF4-FFF2-40B4-BE49-F238E27FC236}">
                <a16:creationId xmlns:a16="http://schemas.microsoft.com/office/drawing/2014/main" id="{47D1BF6C-5F09-4F64-A9AC-A5B1F1AC9DC5}"/>
              </a:ext>
            </a:extLst>
          </p:cNvPr>
          <p:cNvSpPr txBox="1"/>
          <p:nvPr userDrawn="1"/>
        </p:nvSpPr>
        <p:spPr>
          <a:xfrm>
            <a:off x="6242050" y="6166800"/>
            <a:ext cx="5949950" cy="360000"/>
          </a:xfrm>
          <a:prstGeom prst="rect">
            <a:avLst/>
          </a:prstGeom>
          <a:noFill/>
        </p:spPr>
        <p:txBody>
          <a:bodyPr wrap="square" lIns="0" tIns="0" rIns="835200" bIns="36000" rtlCol="0" anchor="b">
            <a:noAutofit/>
          </a:bodyPr>
          <a:lstStyle/>
          <a:p>
            <a:pPr algn="r"/>
            <a:r>
              <a:rPr lang="en-US" sz="1000" b="0" noProof="0"/>
              <a:t>Siemens Energy | Improvement Projects</a:t>
            </a:r>
          </a:p>
        </p:txBody>
      </p:sp>
      <p:sp>
        <p:nvSpPr>
          <p:cNvPr id="14" name="Copyright">
            <a:extLst>
              <a:ext uri="{FF2B5EF4-FFF2-40B4-BE49-F238E27FC236}">
                <a16:creationId xmlns:a16="http://schemas.microsoft.com/office/drawing/2014/main" id="{C256CC5F-2E32-487E-8F3C-5F626C2236B3}"/>
              </a:ext>
            </a:extLst>
          </p:cNvPr>
          <p:cNvSpPr txBox="1"/>
          <p:nvPr userDrawn="1"/>
        </p:nvSpPr>
        <p:spPr>
          <a:xfrm>
            <a:off x="6242050" y="6526800"/>
            <a:ext cx="5949950" cy="331200"/>
          </a:xfrm>
          <a:prstGeom prst="rect">
            <a:avLst/>
          </a:prstGeom>
          <a:noFill/>
        </p:spPr>
        <p:txBody>
          <a:bodyPr wrap="square" lIns="626400" tIns="0" rIns="482400" bIns="0" rtlCol="0" anchor="t">
            <a:noAutofit/>
          </a:bodyPr>
          <a:lstStyle/>
          <a:p>
            <a:pPr algn="r"/>
            <a:r>
              <a:rPr lang="en-US" sz="1000" b="0" noProof="0"/>
              <a:t>Unrestricted © Siemens Energy, 2021</a:t>
            </a:r>
          </a:p>
        </p:txBody>
      </p:sp>
      <p:sp>
        <p:nvSpPr>
          <p:cNvPr id="16" name="Page">
            <a:extLst>
              <a:ext uri="{FF2B5EF4-FFF2-40B4-BE49-F238E27FC236}">
                <a16:creationId xmlns:a16="http://schemas.microsoft.com/office/drawing/2014/main" id="{ADCE6DE1-D72A-4960-AD36-50AAB9FC6372}"/>
              </a:ext>
            </a:extLst>
          </p:cNvPr>
          <p:cNvSpPr txBox="1"/>
          <p:nvPr userDrawn="1"/>
        </p:nvSpPr>
        <p:spPr>
          <a:xfrm>
            <a:off x="11364000" y="6166800"/>
            <a:ext cx="828000" cy="360000"/>
          </a:xfrm>
          <a:prstGeom prst="rect">
            <a:avLst/>
          </a:prstGeom>
          <a:noFill/>
        </p:spPr>
        <p:txBody>
          <a:bodyPr wrap="square" lIns="0" tIns="0" rIns="482400" bIns="36000" rtlCol="0" anchor="b">
            <a:noAutofit/>
          </a:bodyPr>
          <a:lstStyle/>
          <a:p>
            <a:pPr algn="r"/>
            <a:fld id="{6F7EFBA6-8CEB-40F4-B709-F27F7004ACFC}" type="slidenum">
              <a:rPr lang="en-US" sz="1000" b="1" noProof="0" smtClean="0"/>
              <a:t>‹Nr.›</a:t>
            </a:fld>
            <a:endParaRPr lang="en-US" sz="1000" b="1" noProof="0"/>
          </a:p>
        </p:txBody>
      </p:sp>
      <p:sp>
        <p:nvSpPr>
          <p:cNvPr id="10" name="Date">
            <a:extLst>
              <a:ext uri="{FF2B5EF4-FFF2-40B4-BE49-F238E27FC236}">
                <a16:creationId xmlns:a16="http://schemas.microsoft.com/office/drawing/2014/main" id="{00B4D258-65B1-4091-875A-AE678469BF41}"/>
              </a:ext>
            </a:extLst>
          </p:cNvPr>
          <p:cNvSpPr txBox="1"/>
          <p:nvPr userDrawn="1"/>
        </p:nvSpPr>
        <p:spPr>
          <a:xfrm>
            <a:off x="-1" y="6526800"/>
            <a:ext cx="1692000" cy="331200"/>
          </a:xfrm>
          <a:prstGeom prst="rect">
            <a:avLst/>
          </a:prstGeom>
          <a:noFill/>
        </p:spPr>
        <p:txBody>
          <a:bodyPr wrap="square" lIns="626400" tIns="0" rIns="0" bIns="0" rtlCol="0" anchor="t">
            <a:noAutofit/>
          </a:bodyPr>
          <a:lstStyle/>
          <a:p>
            <a:pPr algn="l"/>
            <a:r>
              <a:rPr lang="en-US" sz="1000" b="0" noProof="0" dirty="0"/>
              <a:t>2021-10-19/21</a:t>
            </a:r>
          </a:p>
        </p:txBody>
      </p:sp>
    </p:spTree>
    <p:extLst>
      <p:ext uri="{BB962C8B-B14F-4D97-AF65-F5344CB8AC3E}">
        <p14:creationId xmlns:p14="http://schemas.microsoft.com/office/powerpoint/2010/main" val="26369773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0" r:id="rId1"/>
    <p:sldLayoutId id="2147483684" r:id="rId2"/>
    <p:sldLayoutId id="2147483686" r:id="rId3"/>
    <p:sldLayoutId id="2147483687" r:id="rId4"/>
    <p:sldLayoutId id="2147483649" r:id="rId5"/>
    <p:sldLayoutId id="2147483661" r:id="rId6"/>
    <p:sldLayoutId id="2147483689" r:id="rId7"/>
    <p:sldLayoutId id="2147483691" r:id="rId8"/>
    <p:sldLayoutId id="2147483692" r:id="rId9"/>
    <p:sldLayoutId id="2147483662" r:id="rId10"/>
    <p:sldLayoutId id="2147483681" r:id="rId11"/>
    <p:sldLayoutId id="2147483682" r:id="rId12"/>
    <p:sldLayoutId id="2147483663" r:id="rId13"/>
    <p:sldLayoutId id="2147483664" r:id="rId14"/>
    <p:sldLayoutId id="2147483683" r:id="rId15"/>
    <p:sldLayoutId id="2147483665" r:id="rId16"/>
    <p:sldLayoutId id="2147483666" r:id="rId17"/>
    <p:sldLayoutId id="2147483667" r:id="rId18"/>
    <p:sldLayoutId id="2147483668" r:id="rId19"/>
    <p:sldLayoutId id="2147483669" r:id="rId20"/>
    <p:sldLayoutId id="2147483688" r:id="rId21"/>
    <p:sldLayoutId id="2147483650" r:id="rId22"/>
    <p:sldLayoutId id="2147483671" r:id="rId23"/>
    <p:sldLayoutId id="2147483700" r:id="rId24"/>
    <p:sldLayoutId id="2147483672" r:id="rId25"/>
    <p:sldLayoutId id="2147483673" r:id="rId26"/>
    <p:sldLayoutId id="2147483674" r:id="rId27"/>
    <p:sldLayoutId id="2147483675" r:id="rId28"/>
    <p:sldLayoutId id="2147483676" r:id="rId29"/>
    <p:sldLayoutId id="2147483677" r:id="rId30"/>
    <p:sldLayoutId id="2147483678" r:id="rId31"/>
    <p:sldLayoutId id="2147483670" r:id="rId32"/>
    <p:sldLayoutId id="2147483701" r:id="rId33"/>
    <p:sldLayoutId id="2147483680" r:id="rId34"/>
    <p:sldLayoutId id="2147483698" r:id="rId35"/>
    <p:sldLayoutId id="2147483699" r:id="rId36"/>
    <p:sldLayoutId id="2147483696" r:id="rId37"/>
    <p:sldLayoutId id="2147483697" r:id="rId38"/>
    <p:sldLayoutId id="2147483693" r:id="rId39"/>
    <p:sldLayoutId id="2147483679" r:id="rId40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chemeClr val="accent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0"/>
        </a:spcBef>
        <a:buFont typeface="Arial" panose="020B0604020202020204" pitchFamily="34" charset="0"/>
        <a:buNone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180000" indent="-180000" algn="l" defTabSz="914400" rtl="0" eaLnBrk="1" latinLnBrk="0" hangingPunct="1">
        <a:lnSpc>
          <a:spcPct val="110000"/>
        </a:lnSpc>
        <a:spcBef>
          <a:spcPts val="0"/>
        </a:spcBef>
        <a:buClr>
          <a:schemeClr val="accent2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360000" indent="-180000" algn="l" defTabSz="914400" rtl="0" eaLnBrk="1" latinLnBrk="0" hangingPunct="1">
        <a:lnSpc>
          <a:spcPct val="110000"/>
        </a:lnSpc>
        <a:spcBef>
          <a:spcPts val="0"/>
        </a:spcBef>
        <a:buClr>
          <a:schemeClr val="accent2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540000" indent="-180000" algn="l" defTabSz="914400" rtl="0" eaLnBrk="1" latinLnBrk="0" hangingPunct="1">
        <a:lnSpc>
          <a:spcPct val="110000"/>
        </a:lnSpc>
        <a:spcBef>
          <a:spcPts val="0"/>
        </a:spcBef>
        <a:buClr>
          <a:schemeClr val="accent2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180000" algn="l" defTabSz="914400" rtl="0" eaLnBrk="1" latinLnBrk="0" hangingPunct="1">
        <a:lnSpc>
          <a:spcPct val="110000"/>
        </a:lnSpc>
        <a:spcBef>
          <a:spcPts val="0"/>
        </a:spcBef>
        <a:buClr>
          <a:schemeClr val="accent2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95" userDrawn="1">
          <p15:clr>
            <a:srgbClr val="009999"/>
          </p15:clr>
        </p15:guide>
        <p15:guide id="2" pos="2662">
          <p15:clr>
            <a:srgbClr val="009999"/>
          </p15:clr>
        </p15:guide>
        <p15:guide id="3" pos="3842">
          <p15:clr>
            <a:srgbClr val="009999"/>
          </p15:clr>
        </p15:guide>
        <p15:guide id="4" pos="3932">
          <p15:clr>
            <a:srgbClr val="009999"/>
          </p15:clr>
        </p15:guide>
        <p15:guide id="5" pos="5565">
          <p15:clr>
            <a:srgbClr val="009999"/>
          </p15:clr>
        </p15:guide>
        <p15:guide id="6" pos="6087">
          <p15:clr>
            <a:srgbClr val="009999"/>
          </p15:clr>
        </p15:guide>
        <p15:guide id="7" pos="7379">
          <p15:clr>
            <a:srgbClr val="009999"/>
          </p15:clr>
        </p15:guide>
        <p15:guide id="9" orient="horz" pos="891">
          <p15:clr>
            <a:srgbClr val="009999"/>
          </p15:clr>
        </p15:guide>
        <p15:guide id="10" orient="horz" pos="1073">
          <p15:clr>
            <a:srgbClr val="009999"/>
          </p15:clr>
        </p15:guide>
        <p15:guide id="11" orient="horz" pos="2343">
          <p15:clr>
            <a:srgbClr val="009999"/>
          </p15:clr>
        </p15:guide>
        <p15:guide id="12" orient="horz" pos="2433">
          <p15:clr>
            <a:srgbClr val="009999"/>
          </p15:clr>
        </p15:guide>
        <p15:guide id="13" orient="horz" pos="3703">
          <p15:clr>
            <a:srgbClr val="009999"/>
          </p15:clr>
        </p15:guide>
        <p15:guide id="14" orient="horz" pos="3885">
          <p15:clr>
            <a:srgbClr val="009999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hyperlink" Target="http://www.datacamp.com/" TargetMode="Externa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6.xml"/><Relationship Id="rId4" Type="http://schemas.openxmlformats.org/officeDocument/2006/relationships/hyperlink" Target="https://www.datacamp.com/community/tutorials/data-structures-python" TargetMode="Externa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6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7" Type="http://schemas.openxmlformats.org/officeDocument/2006/relationships/image" Target="../media/image23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16.xml"/><Relationship Id="rId6" Type="http://schemas.openxmlformats.org/officeDocument/2006/relationships/image" Target="../media/image22.png"/><Relationship Id="rId5" Type="http://schemas.openxmlformats.org/officeDocument/2006/relationships/image" Target="../media/image21.png"/><Relationship Id="rId4" Type="http://schemas.openxmlformats.org/officeDocument/2006/relationships/image" Target="../media/image20.png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hyperlink" Target="https://www.anaconda.com/distribution/" TargetMode="External"/><Relationship Id="rId1" Type="http://schemas.openxmlformats.org/officeDocument/2006/relationships/slideLayout" Target="../slideLayouts/slideLayout16.xml"/><Relationship Id="rId6" Type="http://schemas.openxmlformats.org/officeDocument/2006/relationships/image" Target="../media/image27.png"/><Relationship Id="rId5" Type="http://schemas.openxmlformats.org/officeDocument/2006/relationships/image" Target="../media/image26.png"/><Relationship Id="rId4" Type="http://schemas.openxmlformats.org/officeDocument/2006/relationships/image" Target="../media/image25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16.xml"/><Relationship Id="rId1" Type="http://schemas.openxmlformats.org/officeDocument/2006/relationships/tags" Target="../tags/tag2.xml"/><Relationship Id="rId5" Type="http://schemas.openxmlformats.org/officeDocument/2006/relationships/image" Target="../media/image28.png"/><Relationship Id="rId4" Type="http://schemas.openxmlformats.org/officeDocument/2006/relationships/hyperlink" Target="https://energyai.siemens-energy.cloud/" TargetMode="Externa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16.xml"/><Relationship Id="rId1" Type="http://schemas.openxmlformats.org/officeDocument/2006/relationships/tags" Target="../tags/tag3.xml"/><Relationship Id="rId6" Type="http://schemas.openxmlformats.org/officeDocument/2006/relationships/hyperlink" Target="https://analyse.energyai.siemens-energy.cloud/" TargetMode="External"/><Relationship Id="rId5" Type="http://schemas.openxmlformats.org/officeDocument/2006/relationships/hyperlink" Target="https://energyai.siemens-energy.cloud/" TargetMode="External"/><Relationship Id="rId4" Type="http://schemas.openxmlformats.org/officeDocument/2006/relationships/image" Target="../media/image29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16.xml"/><Relationship Id="rId1" Type="http://schemas.openxmlformats.org/officeDocument/2006/relationships/tags" Target="../tags/tag4.xml"/><Relationship Id="rId4" Type="http://schemas.openxmlformats.org/officeDocument/2006/relationships/image" Target="../media/image30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2" Type="http://schemas.openxmlformats.org/officeDocument/2006/relationships/slideLayout" Target="../slideLayouts/slideLayout16.xml"/><Relationship Id="rId1" Type="http://schemas.openxmlformats.org/officeDocument/2006/relationships/tags" Target="../tags/tag5.xml"/><Relationship Id="rId4" Type="http://schemas.openxmlformats.org/officeDocument/2006/relationships/image" Target="../media/image31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6.xml"/><Relationship Id="rId6" Type="http://schemas.openxmlformats.org/officeDocument/2006/relationships/image" Target="../media/image15.png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eg"/><Relationship Id="rId2" Type="http://schemas.openxmlformats.org/officeDocument/2006/relationships/hyperlink" Target="https://learn.datacamp.com/courses/data-manipulation-with-pandas" TargetMode="External"/><Relationship Id="rId1" Type="http://schemas.openxmlformats.org/officeDocument/2006/relationships/slideLayout" Target="../slideLayouts/slideLayout26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hyperlink" Target="https://learn.datacamp.com/courses/data-manipulation-with-pandas" TargetMode="Externa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6.xml"/><Relationship Id="rId4" Type="http://schemas.openxmlformats.org/officeDocument/2006/relationships/image" Target="../media/image17.png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>
            <a:extLst>
              <a:ext uri="{FF2B5EF4-FFF2-40B4-BE49-F238E27FC236}">
                <a16:creationId xmlns:a16="http://schemas.microsoft.com/office/drawing/2014/main" id="{038E72CC-385E-4BD8-8999-AEE4C70B835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27061" y="1414800"/>
            <a:ext cx="6151425" cy="3114000"/>
          </a:xfrm>
        </p:spPr>
        <p:txBody>
          <a:bodyPr/>
          <a:lstStyle/>
          <a:p>
            <a:r>
              <a:rPr lang="en-US" noProof="0"/>
              <a:t>Data Science Training</a:t>
            </a:r>
            <a:br>
              <a:rPr lang="en-US" noProof="0"/>
            </a:br>
            <a:r>
              <a:rPr lang="en-US" noProof="0"/>
              <a:t>Getting Started with Python &amp; NumPy </a:t>
            </a:r>
          </a:p>
        </p:txBody>
      </p:sp>
    </p:spTree>
    <p:extLst>
      <p:ext uri="{BB962C8B-B14F-4D97-AF65-F5344CB8AC3E}">
        <p14:creationId xmlns:p14="http://schemas.microsoft.com/office/powerpoint/2010/main" val="270027621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0CF6891-20D4-42F0-B6F8-AD97F2D0121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Basic Elements - Data Structures in Python (Grey),</a:t>
            </a:r>
            <a:br>
              <a:rPr lang="en-US" noProof="0"/>
            </a:br>
            <a:r>
              <a:rPr lang="en-US" noProof="0" err="1"/>
              <a:t>Numpy</a:t>
            </a:r>
            <a:r>
              <a:rPr lang="en-US" noProof="0"/>
              <a:t> (Green) and Pandas (Orange)</a:t>
            </a:r>
          </a:p>
        </p:txBody>
      </p:sp>
      <p:graphicFrame>
        <p:nvGraphicFramePr>
          <p:cNvPr id="4" name="Inhaltsplatzhalter 3">
            <a:extLst>
              <a:ext uri="{FF2B5EF4-FFF2-40B4-BE49-F238E27FC236}">
                <a16:creationId xmlns:a16="http://schemas.microsoft.com/office/drawing/2014/main" id="{1CE0C176-456D-4D82-8321-B50D9DBAFAF0}"/>
              </a:ext>
            </a:extLst>
          </p:cNvPr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2666737798"/>
              </p:ext>
            </p:extLst>
          </p:nvPr>
        </p:nvGraphicFramePr>
        <p:xfrm>
          <a:off x="1033463" y="1414463"/>
          <a:ext cx="11158538" cy="453987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704380">
                  <a:extLst>
                    <a:ext uri="{9D8B030D-6E8A-4147-A177-3AD203B41FA5}">
                      <a16:colId xmlns:a16="http://schemas.microsoft.com/office/drawing/2014/main" val="1400400748"/>
                    </a:ext>
                  </a:extLst>
                </a:gridCol>
                <a:gridCol w="3802204">
                  <a:extLst>
                    <a:ext uri="{9D8B030D-6E8A-4147-A177-3AD203B41FA5}">
                      <a16:colId xmlns:a16="http://schemas.microsoft.com/office/drawing/2014/main" val="3923831581"/>
                    </a:ext>
                  </a:extLst>
                </a:gridCol>
                <a:gridCol w="4323180">
                  <a:extLst>
                    <a:ext uri="{9D8B030D-6E8A-4147-A177-3AD203B41FA5}">
                      <a16:colId xmlns:a16="http://schemas.microsoft.com/office/drawing/2014/main" val="3032186572"/>
                    </a:ext>
                  </a:extLst>
                </a:gridCol>
                <a:gridCol w="1328774">
                  <a:extLst>
                    <a:ext uri="{9D8B030D-6E8A-4147-A177-3AD203B41FA5}">
                      <a16:colId xmlns:a16="http://schemas.microsoft.com/office/drawing/2014/main" val="3712941076"/>
                    </a:ext>
                  </a:extLst>
                </a:gridCol>
              </a:tblGrid>
              <a:tr h="310951">
                <a:tc>
                  <a:txBody>
                    <a:bodyPr/>
                    <a:lstStyle/>
                    <a:p>
                      <a:endParaRPr lang="en-US" sz="1400" noProof="0"/>
                    </a:p>
                  </a:txBody>
                  <a:tcPr marL="91392" marR="91392" marT="45696" marB="45696"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noProof="0"/>
                        <a:t>Description</a:t>
                      </a:r>
                    </a:p>
                  </a:txBody>
                  <a:tcPr marL="91392" marR="91392" marT="45696" marB="45696"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noProof="0"/>
                        <a:t>Useful for…</a:t>
                      </a:r>
                    </a:p>
                  </a:txBody>
                  <a:tcPr marL="91392" marR="91392" marT="45696" marB="45696"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noProof="0"/>
                        <a:t>Example</a:t>
                      </a:r>
                    </a:p>
                  </a:txBody>
                  <a:tcPr marL="91392" marR="91392" marT="45696" marB="45696"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42385590"/>
                  </a:ext>
                </a:extLst>
              </a:tr>
              <a:tr h="419783">
                <a:tc>
                  <a:txBody>
                    <a:bodyPr/>
                    <a:lstStyle/>
                    <a:p>
                      <a:r>
                        <a:rPr lang="en-US" sz="1400" noProof="0" dirty="0"/>
                        <a:t>Lists</a:t>
                      </a:r>
                    </a:p>
                  </a:txBody>
                  <a:tcPr marL="91392" marR="91392" marT="45696" marB="45696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1000" noProof="0" dirty="0"/>
                        <a:t>Store collection of heterogeneous items – immutable and mutable objects</a:t>
                      </a:r>
                    </a:p>
                  </a:txBody>
                  <a:tcPr marL="91392" marR="91392" marT="45696" marB="45696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1000" noProof="0" dirty="0"/>
                        <a:t>Simple listing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1000" noProof="0" dirty="0"/>
                        <a:t>Special programming techniques (Stacks, Queue, Graphs, Trees)</a:t>
                      </a:r>
                    </a:p>
                  </a:txBody>
                  <a:tcPr marL="91392" marR="91392" marT="45696" marB="45696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noProof="0"/>
                        <a:t>[item, item, item]</a:t>
                      </a:r>
                    </a:p>
                  </a:txBody>
                  <a:tcPr marL="91392" marR="91392" marT="45696" marB="45696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9100036"/>
                  </a:ext>
                </a:extLst>
              </a:tr>
              <a:tr h="746281">
                <a:tc>
                  <a:txBody>
                    <a:bodyPr/>
                    <a:lstStyle/>
                    <a:p>
                      <a:r>
                        <a:rPr lang="en-US" sz="1400" noProof="0"/>
                        <a:t>Dictionaries</a:t>
                      </a:r>
                    </a:p>
                  </a:txBody>
                  <a:tcPr marL="91392" marR="91392" marT="45696" marB="45696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1000" noProof="0"/>
                        <a:t>Collection of key-value pairs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1000" noProof="0"/>
                        <a:t>Key: immutable objects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1000" noProof="0"/>
                        <a:t>Value: heterogeneous items – immutable and mutable objects</a:t>
                      </a:r>
                    </a:p>
                  </a:txBody>
                  <a:tcPr marL="91392" marR="91392" marT="45696" marB="45696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1000" noProof="0" dirty="0"/>
                        <a:t>Creating loops to do the same operation on many dataset</a:t>
                      </a:r>
                    </a:p>
                  </a:txBody>
                  <a:tcPr marL="91392" marR="91392" marT="45696" marB="45696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noProof="0" dirty="0"/>
                        <a:t>{key1:item1, key2:item2}</a:t>
                      </a:r>
                    </a:p>
                  </a:txBody>
                  <a:tcPr marL="91392" marR="91392" marT="45696" marB="45696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53230860"/>
                  </a:ext>
                </a:extLst>
              </a:tr>
              <a:tr h="310951">
                <a:tc>
                  <a:txBody>
                    <a:bodyPr/>
                    <a:lstStyle/>
                    <a:p>
                      <a:r>
                        <a:rPr lang="en-US" sz="1400" noProof="0"/>
                        <a:t>Files </a:t>
                      </a:r>
                    </a:p>
                  </a:txBody>
                  <a:tcPr marL="91392" marR="91392" marT="45696" marB="45696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1000" noProof="0"/>
                        <a:t>Store and retrieve previously stored information</a:t>
                      </a:r>
                    </a:p>
                  </a:txBody>
                  <a:tcPr marL="91392" marR="91392" marT="45696" marB="45696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noProof="0" dirty="0"/>
                        <a:t>.csv, .hdf5, .xlsx</a:t>
                      </a:r>
                    </a:p>
                  </a:txBody>
                  <a:tcPr marL="91392" marR="91392" marT="45696" marB="45696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93676737"/>
                  </a:ext>
                </a:extLst>
              </a:tr>
              <a:tr h="419783">
                <a:tc>
                  <a:txBody>
                    <a:bodyPr/>
                    <a:lstStyle/>
                    <a:p>
                      <a:r>
                        <a:rPr lang="en-US" sz="1400" noProof="0"/>
                        <a:t>Tuples</a:t>
                      </a:r>
                    </a:p>
                  </a:txBody>
                  <a:tcPr marL="91392" marR="91392" marT="45696" marB="45696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1000" noProof="0"/>
                        <a:t>Tuples are data structures in which the content can not be changed after creation (no deletion, add or edit)</a:t>
                      </a:r>
                    </a:p>
                  </a:txBody>
                  <a:tcPr marL="91392" marR="91392" marT="45696" marB="45696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1000" noProof="0"/>
                        <a:t>Prevents data manipulation</a:t>
                      </a:r>
                    </a:p>
                  </a:txBody>
                  <a:tcPr marL="91392" marR="91392" marT="45696" marB="45696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noProof="0" dirty="0"/>
                        <a:t>(item, item, item)</a:t>
                      </a:r>
                    </a:p>
                  </a:txBody>
                  <a:tcPr marL="91392" marR="91392" marT="45696" marB="45696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31244386"/>
                  </a:ext>
                </a:extLst>
              </a:tr>
              <a:tr h="419783">
                <a:tc>
                  <a:txBody>
                    <a:bodyPr/>
                    <a:lstStyle/>
                    <a:p>
                      <a:r>
                        <a:rPr lang="en-US" sz="1400" noProof="0"/>
                        <a:t>Sets</a:t>
                      </a:r>
                    </a:p>
                  </a:txBody>
                  <a:tcPr marL="91392" marR="91392" marT="45696" marB="45696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1000" noProof="0"/>
                        <a:t>Collection of unique objects</a:t>
                      </a:r>
                    </a:p>
                  </a:txBody>
                  <a:tcPr marL="91392" marR="91392" marT="45696" marB="45696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1000" noProof="0"/>
                        <a:t>Creating lists that only hold unique values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1000" noProof="0"/>
                        <a:t>Helpful when going through huge dataset</a:t>
                      </a:r>
                    </a:p>
                  </a:txBody>
                  <a:tcPr marL="91392" marR="91392" marT="45696" marB="45696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noProof="0" dirty="0"/>
                        <a:t>{item, item, item}</a:t>
                      </a:r>
                    </a:p>
                  </a:txBody>
                  <a:tcPr marL="91392" marR="91392" marT="45696" marB="45696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3193752"/>
                  </a:ext>
                </a:extLst>
              </a:tr>
              <a:tr h="746281">
                <a:tc>
                  <a:txBody>
                    <a:bodyPr/>
                    <a:lstStyle/>
                    <a:p>
                      <a:r>
                        <a:rPr lang="en-US" sz="1400" noProof="0" dirty="0"/>
                        <a:t>Numpy ND-Arrays</a:t>
                      </a:r>
                    </a:p>
                  </a:txBody>
                  <a:tcPr marL="91392" marR="91392" marT="45696" marB="45696">
                    <a:solidFill>
                      <a:srgbClr val="C7DB9B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1000" noProof="0" dirty="0"/>
                        <a:t>Store collection of data of the same type</a:t>
                      </a:r>
                    </a:p>
                  </a:txBody>
                  <a:tcPr marL="91392" marR="91392" marT="45696" marB="45696">
                    <a:solidFill>
                      <a:srgbClr val="C7DB9B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1000" noProof="0" dirty="0"/>
                        <a:t>Dealing with large collection of homogeneous data types: easier to use, faster and uses lesser memory than lists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1000" noProof="0" dirty="0"/>
                        <a:t>Support vectorized operations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1000" noProof="0" dirty="0"/>
                        <a:t>Work efficiently with large datasets with lots of empty cells</a:t>
                      </a:r>
                    </a:p>
                  </a:txBody>
                  <a:tcPr marL="91392" marR="91392" marT="45696" marB="45696">
                    <a:solidFill>
                      <a:srgbClr val="C7DB9B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noProof="0" dirty="0"/>
                        <a:t>[[1. 1. 2.]</a:t>
                      </a:r>
                    </a:p>
                    <a:p>
                      <a:r>
                        <a:rPr lang="en-US" sz="1000" noProof="0" dirty="0"/>
                        <a:t> [3. 5. 8.]</a:t>
                      </a:r>
                    </a:p>
                    <a:p>
                      <a:r>
                        <a:rPr lang="en-US" sz="1000" noProof="0" dirty="0"/>
                        <a:t> [5. 3. 2.]]</a:t>
                      </a:r>
                    </a:p>
                  </a:txBody>
                  <a:tcPr marL="91392" marR="91392" marT="45696" marB="45696">
                    <a:solidFill>
                      <a:srgbClr val="C7DB9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28955906"/>
                  </a:ext>
                </a:extLst>
              </a:tr>
              <a:tr h="583032">
                <a:tc>
                  <a:txBody>
                    <a:bodyPr/>
                    <a:lstStyle/>
                    <a:p>
                      <a:r>
                        <a:rPr lang="en-US" sz="1400" noProof="0" dirty="0" err="1"/>
                        <a:t>Dataframes</a:t>
                      </a:r>
                      <a:endParaRPr lang="en-US" sz="1400" noProof="0" dirty="0"/>
                    </a:p>
                  </a:txBody>
                  <a:tcPr marL="91392" marR="91392" marT="45696" marB="45696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1000" noProof="0" dirty="0"/>
                        <a:t>2-dimensional labeled data structure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1000" noProof="0" dirty="0"/>
                        <a:t>Columns don’t have to have the same data type</a:t>
                      </a:r>
                    </a:p>
                  </a:txBody>
                  <a:tcPr marL="91392" marR="91392" marT="45696" marB="45696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1000" noProof="0"/>
                        <a:t>Data mining / manipulation 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1000" noProof="0"/>
                        <a:t>Labeling 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1000" noProof="0" err="1"/>
                        <a:t>Multiindexing</a:t>
                      </a:r>
                      <a:endParaRPr lang="en-US" sz="1000" noProof="0"/>
                    </a:p>
                  </a:txBody>
                  <a:tcPr marL="91392" marR="91392" marT="45696" marB="45696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noProof="0"/>
                        <a:t>Like this table</a:t>
                      </a:r>
                    </a:p>
                  </a:txBody>
                  <a:tcPr marL="91392" marR="91392" marT="45696" marB="45696"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70400347"/>
                  </a:ext>
                </a:extLst>
              </a:tr>
              <a:tr h="583032">
                <a:tc>
                  <a:txBody>
                    <a:bodyPr/>
                    <a:lstStyle/>
                    <a:p>
                      <a:r>
                        <a:rPr lang="en-US" sz="1400" noProof="0"/>
                        <a:t>Series</a:t>
                      </a:r>
                    </a:p>
                  </a:txBody>
                  <a:tcPr marL="91392" marR="91392" marT="45696" marB="45696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1000" noProof="0"/>
                        <a:t>One-dimensional labeled array capable of holding any data types</a:t>
                      </a:r>
                    </a:p>
                  </a:txBody>
                  <a:tcPr marL="91392" marR="91392" marT="45696" marB="45696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1000" noProof="0" dirty="0"/>
                        <a:t>Axis labels</a:t>
                      </a:r>
                    </a:p>
                  </a:txBody>
                  <a:tcPr marL="91392" marR="91392" marT="45696" marB="45696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noProof="0" dirty="0"/>
                        <a:t>a 1</a:t>
                      </a:r>
                    </a:p>
                    <a:p>
                      <a:r>
                        <a:rPr lang="en-US" sz="1000" noProof="0" dirty="0"/>
                        <a:t>b 2</a:t>
                      </a:r>
                    </a:p>
                    <a:p>
                      <a:r>
                        <a:rPr lang="en-US" sz="1000" noProof="0" dirty="0"/>
                        <a:t>c 3</a:t>
                      </a:r>
                    </a:p>
                  </a:txBody>
                  <a:tcPr marL="91392" marR="91392" marT="45696" marB="45696"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55329963"/>
                  </a:ext>
                </a:extLst>
              </a:tr>
            </a:tbl>
          </a:graphicData>
        </a:graphic>
      </p:graphicFrame>
      <p:sp>
        <p:nvSpPr>
          <p:cNvPr id="3" name="Textfeld 2">
            <a:extLst>
              <a:ext uri="{FF2B5EF4-FFF2-40B4-BE49-F238E27FC236}">
                <a16:creationId xmlns:a16="http://schemas.microsoft.com/office/drawing/2014/main" id="{05F4383E-ADD2-4C9D-9E32-ECD6D2DC55E2}"/>
              </a:ext>
            </a:extLst>
          </p:cNvPr>
          <p:cNvSpPr txBox="1"/>
          <p:nvPr/>
        </p:nvSpPr>
        <p:spPr>
          <a:xfrm>
            <a:off x="627062" y="6112071"/>
            <a:ext cx="9174663" cy="312792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10000"/>
              </a:lnSpc>
            </a:pPr>
            <a:r>
              <a:rPr lang="en-US" sz="1199">
                <a:ea typeface="Arial Unicode MS" panose="020B0604020202020204" pitchFamily="34" charset="-128"/>
                <a:cs typeface="Arial Unicode MS" panose="020B0604020202020204" pitchFamily="34" charset="-128"/>
              </a:rPr>
              <a:t>Source: </a:t>
            </a:r>
            <a:r>
              <a:rPr lang="en-US" sz="1199">
                <a:ea typeface="Arial Unicode MS" panose="020B0604020202020204" pitchFamily="34" charset="-128"/>
                <a:cs typeface="Arial Unicode MS" panose="020B0604020202020204" pitchFamily="34" charset="-128"/>
                <a:hlinkClick r:id="rId3"/>
              </a:rPr>
              <a:t>www.datacamp.com</a:t>
            </a:r>
            <a:r>
              <a:rPr lang="en-US" sz="1199">
                <a:ea typeface="Arial Unicode MS" panose="020B0604020202020204" pitchFamily="34" charset="-128"/>
                <a:cs typeface="Arial Unicode MS" panose="020B0604020202020204" pitchFamily="34" charset="-128"/>
              </a:rPr>
              <a:t>, pandas.pydata.org; Also see: </a:t>
            </a:r>
            <a:r>
              <a:rPr lang="en-US" sz="1199">
                <a:hlinkClick r:id="rId4"/>
              </a:rPr>
              <a:t>https://www.datacamp.com/community/tutorials/data-structures-python</a:t>
            </a:r>
            <a:r>
              <a:rPr lang="en-US" sz="1199"/>
              <a:t> </a:t>
            </a:r>
          </a:p>
          <a:p>
            <a:pPr>
              <a:lnSpc>
                <a:spcPct val="110000"/>
              </a:lnSpc>
            </a:pPr>
            <a:r>
              <a:rPr lang="en-US" sz="1199"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82312526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0CF6891-20D4-42F0-B6F8-AD97F2D0121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A Selection of Important Libraries in Python</a:t>
            </a:r>
          </a:p>
        </p:txBody>
      </p:sp>
      <p:graphicFrame>
        <p:nvGraphicFramePr>
          <p:cNvPr id="4" name="Inhaltsplatzhalter 3">
            <a:extLst>
              <a:ext uri="{FF2B5EF4-FFF2-40B4-BE49-F238E27FC236}">
                <a16:creationId xmlns:a16="http://schemas.microsoft.com/office/drawing/2014/main" id="{1CE0C176-456D-4D82-8321-B50D9DBAFAF0}"/>
              </a:ext>
            </a:extLst>
          </p:cNvPr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262084552"/>
              </p:ext>
            </p:extLst>
          </p:nvPr>
        </p:nvGraphicFramePr>
        <p:xfrm>
          <a:off x="1100138" y="1414463"/>
          <a:ext cx="11091695" cy="458209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370064">
                  <a:extLst>
                    <a:ext uri="{9D8B030D-6E8A-4147-A177-3AD203B41FA5}">
                      <a16:colId xmlns:a16="http://schemas.microsoft.com/office/drawing/2014/main" val="3346373133"/>
                    </a:ext>
                  </a:extLst>
                </a:gridCol>
                <a:gridCol w="2370064">
                  <a:extLst>
                    <a:ext uri="{9D8B030D-6E8A-4147-A177-3AD203B41FA5}">
                      <a16:colId xmlns:a16="http://schemas.microsoft.com/office/drawing/2014/main" val="1400400748"/>
                    </a:ext>
                  </a:extLst>
                </a:gridCol>
                <a:gridCol w="4428248">
                  <a:extLst>
                    <a:ext uri="{9D8B030D-6E8A-4147-A177-3AD203B41FA5}">
                      <a16:colId xmlns:a16="http://schemas.microsoft.com/office/drawing/2014/main" val="3923831581"/>
                    </a:ext>
                  </a:extLst>
                </a:gridCol>
                <a:gridCol w="1923319">
                  <a:extLst>
                    <a:ext uri="{9D8B030D-6E8A-4147-A177-3AD203B41FA5}">
                      <a16:colId xmlns:a16="http://schemas.microsoft.com/office/drawing/2014/main" val="3712941076"/>
                    </a:ext>
                  </a:extLst>
                </a:gridCol>
              </a:tblGrid>
              <a:tr h="416035">
                <a:tc>
                  <a:txBody>
                    <a:bodyPr/>
                    <a:lstStyle/>
                    <a:p>
                      <a:r>
                        <a:rPr lang="en-US" sz="1400" noProof="0" dirty="0"/>
                        <a:t>Category</a:t>
                      </a:r>
                    </a:p>
                  </a:txBody>
                  <a:tcPr marL="91392" marR="91392" marT="45696" marB="45696"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noProof="0"/>
                        <a:t>Name</a:t>
                      </a:r>
                    </a:p>
                  </a:txBody>
                  <a:tcPr marL="91392" marR="91392" marT="45696" marB="45696"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noProof="0"/>
                        <a:t>Description</a:t>
                      </a:r>
                    </a:p>
                  </a:txBody>
                  <a:tcPr marL="91392" marR="91392" marT="45696" marB="45696"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noProof="0"/>
                        <a:t>Link</a:t>
                      </a:r>
                    </a:p>
                  </a:txBody>
                  <a:tcPr marL="91392" marR="91392" marT="45696" marB="45696"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42385590"/>
                  </a:ext>
                </a:extLst>
              </a:tr>
              <a:tr h="461629">
                <a:tc rowSpan="3">
                  <a:txBody>
                    <a:bodyPr/>
                    <a:lstStyle/>
                    <a:p>
                      <a:r>
                        <a:rPr lang="en-US" sz="1400" noProof="0"/>
                        <a:t>Data Handling Libraries</a:t>
                      </a:r>
                    </a:p>
                  </a:txBody>
                  <a:tcPr marL="91392" marR="91392" marT="45696" marB="45696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noProof="0" dirty="0"/>
                        <a:t>Numpy</a:t>
                      </a:r>
                    </a:p>
                  </a:txBody>
                  <a:tcPr marL="91392" marR="91392" marT="45696" marB="45696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noProof="0" dirty="0"/>
                        <a:t>Basic Library for scientific computing in Python (linear algebra, numerical functionalities etc.)</a:t>
                      </a:r>
                    </a:p>
                  </a:txBody>
                  <a:tcPr marL="91392" marR="91392" marT="45696" marB="45696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noProof="0"/>
                        <a:t>https://numpy.org/</a:t>
                      </a:r>
                    </a:p>
                  </a:txBody>
                  <a:tcPr marL="91392" marR="91392" marT="45696" marB="45696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9100036"/>
                  </a:ext>
                </a:extLst>
              </a:tr>
              <a:tr h="416035"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noProof="0"/>
                        <a:t>Pandas</a:t>
                      </a:r>
                    </a:p>
                  </a:txBody>
                  <a:tcPr marL="91392" marR="91392" marT="45696" marB="45696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noProof="0"/>
                        <a:t>Package especially built for data analysis</a:t>
                      </a:r>
                    </a:p>
                  </a:txBody>
                  <a:tcPr marL="91392" marR="91392" marT="45696" marB="45696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noProof="0"/>
                        <a:t>https://pandas.pydata.org/</a:t>
                      </a:r>
                    </a:p>
                  </a:txBody>
                  <a:tcPr marL="91392" marR="91392" marT="45696" marB="45696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53230860"/>
                  </a:ext>
                </a:extLst>
              </a:tr>
              <a:tr h="461629"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noProof="0"/>
                        <a:t>Scipy</a:t>
                      </a:r>
                    </a:p>
                  </a:txBody>
                  <a:tcPr marL="91392" marR="91392" marT="45696" marB="45696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noProof="0"/>
                        <a:t>Mathematical and engineering functions (e.g. optimization and fits, numerical integration…)</a:t>
                      </a:r>
                    </a:p>
                  </a:txBody>
                  <a:tcPr marL="91392" marR="91392" marT="45696" marB="45696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noProof="0"/>
                        <a:t>https://www.scipy.org/</a:t>
                      </a:r>
                    </a:p>
                  </a:txBody>
                  <a:tcPr marL="91392" marR="91392" marT="45696" marB="45696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93676737"/>
                  </a:ext>
                </a:extLst>
              </a:tr>
              <a:tr h="416035">
                <a:tc rowSpan="3">
                  <a:txBody>
                    <a:bodyPr/>
                    <a:lstStyle/>
                    <a:p>
                      <a:r>
                        <a:rPr lang="en-US" sz="1400" noProof="0"/>
                        <a:t>Plotting Libraries</a:t>
                      </a:r>
                    </a:p>
                  </a:txBody>
                  <a:tcPr marL="91392" marR="91392" marT="45696" marB="45696">
                    <a:solidFill>
                      <a:srgbClr val="C7DB9B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noProof="0"/>
                        <a:t>Matplotlib</a:t>
                      </a:r>
                    </a:p>
                  </a:txBody>
                  <a:tcPr marL="91392" marR="91392" marT="45696" marB="45696">
                    <a:solidFill>
                      <a:srgbClr val="C7DB9B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noProof="0"/>
                        <a:t>2D plotting library for basic plotting</a:t>
                      </a:r>
                    </a:p>
                  </a:txBody>
                  <a:tcPr marL="91392" marR="91392" marT="45696" marB="45696">
                    <a:solidFill>
                      <a:srgbClr val="C7DB9B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noProof="0"/>
                        <a:t>https://matplotlib.org/</a:t>
                      </a:r>
                    </a:p>
                  </a:txBody>
                  <a:tcPr marL="91392" marR="91392" marT="45696" marB="45696">
                    <a:solidFill>
                      <a:srgbClr val="C7DB9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67551365"/>
                  </a:ext>
                </a:extLst>
              </a:tr>
              <a:tr h="341947"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noProof="0"/>
                        <a:t>Seaborn</a:t>
                      </a:r>
                    </a:p>
                  </a:txBody>
                  <a:tcPr marL="91392" marR="91392" marT="45696" marB="45696">
                    <a:solidFill>
                      <a:srgbClr val="C7DB9B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noProof="0"/>
                        <a:t>Is built on top of matplotlib, thus offers more functionalities</a:t>
                      </a:r>
                    </a:p>
                  </a:txBody>
                  <a:tcPr marL="91392" marR="91392" marT="45696" marB="45696">
                    <a:solidFill>
                      <a:srgbClr val="C7DB9B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noProof="0"/>
                        <a:t>https://seaborn.pydata.org/</a:t>
                      </a:r>
                    </a:p>
                  </a:txBody>
                  <a:tcPr marL="91392" marR="91392" marT="45696" marB="45696">
                    <a:solidFill>
                      <a:srgbClr val="C7DB9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70400347"/>
                  </a:ext>
                </a:extLst>
              </a:tr>
              <a:tr h="341947"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>
                    <a:solidFill>
                      <a:srgbClr val="C7DB9B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noProof="0"/>
                        <a:t>Plotly</a:t>
                      </a:r>
                    </a:p>
                  </a:txBody>
                  <a:tcPr marL="91392" marR="91392" marT="45696" marB="45696">
                    <a:solidFill>
                      <a:srgbClr val="C7DB9B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noProof="0"/>
                        <a:t>Is built for interactive graphs</a:t>
                      </a:r>
                    </a:p>
                  </a:txBody>
                  <a:tcPr marL="91392" marR="91392" marT="45696" marB="45696">
                    <a:solidFill>
                      <a:srgbClr val="C7DB9B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noProof="0"/>
                        <a:t>https://plot.ly/python/</a:t>
                      </a:r>
                    </a:p>
                  </a:txBody>
                  <a:tcPr marL="91392" marR="91392" marT="45696" marB="45696">
                    <a:solidFill>
                      <a:srgbClr val="C7DB9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03621418"/>
                  </a:ext>
                </a:extLst>
              </a:tr>
              <a:tr h="341947">
                <a:tc rowSpan="2">
                  <a:txBody>
                    <a:bodyPr/>
                    <a:lstStyle/>
                    <a:p>
                      <a:r>
                        <a:rPr lang="en-US" sz="1400" noProof="0"/>
                        <a:t>Machine Learning Libraries</a:t>
                      </a:r>
                    </a:p>
                  </a:txBody>
                  <a:tcPr marL="91392" marR="91392" marT="45696" marB="45696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noProof="0"/>
                        <a:t>TensorFlow</a:t>
                      </a:r>
                    </a:p>
                  </a:txBody>
                  <a:tcPr marL="91392" marR="91392" marT="45696" marB="45696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noProof="0"/>
                        <a:t>For machine learning applications (e.g. voice recognition)</a:t>
                      </a:r>
                    </a:p>
                  </a:txBody>
                  <a:tcPr marL="91392" marR="91392" marT="45696" marB="45696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noProof="0"/>
                        <a:t>https://www.tensorflow.org/</a:t>
                      </a:r>
                    </a:p>
                  </a:txBody>
                  <a:tcPr marL="91392" marR="91392" marT="45696" marB="45696"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78497407"/>
                  </a:ext>
                </a:extLst>
              </a:tr>
              <a:tr h="461629"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noProof="0"/>
                        <a:t>SciKit-Learn</a:t>
                      </a:r>
                    </a:p>
                  </a:txBody>
                  <a:tcPr marL="91392" marR="91392" marT="45696" marB="45696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noProof="0"/>
                        <a:t>For machine learning applications (e.g. regression models, clustering, vector-machines…)</a:t>
                      </a:r>
                    </a:p>
                  </a:txBody>
                  <a:tcPr marL="91392" marR="91392" marT="45696" marB="45696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noProof="0"/>
                        <a:t>https://scikit-learn.org/stable/</a:t>
                      </a:r>
                    </a:p>
                  </a:txBody>
                  <a:tcPr marL="91392" marR="91392" marT="45696" marB="45696"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95313803"/>
                  </a:ext>
                </a:extLst>
              </a:tr>
              <a:tr h="461629">
                <a:tc rowSpan="2">
                  <a:txBody>
                    <a:bodyPr/>
                    <a:lstStyle/>
                    <a:p>
                      <a:r>
                        <a:rPr lang="en-US" sz="1400" noProof="0"/>
                        <a:t>Other Useful Libraries</a:t>
                      </a:r>
                    </a:p>
                  </a:txBody>
                  <a:tcPr marL="91392" marR="91392" marT="45696" marB="45696">
                    <a:solidFill>
                      <a:srgbClr val="FFE178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noProof="0"/>
                        <a:t>Time</a:t>
                      </a:r>
                    </a:p>
                  </a:txBody>
                  <a:tcPr marL="91392" marR="91392" marT="45696" marB="45696">
                    <a:solidFill>
                      <a:srgbClr val="FFE178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noProof="0"/>
                        <a:t>Provides all time-related functions</a:t>
                      </a:r>
                    </a:p>
                  </a:txBody>
                  <a:tcPr marL="91392" marR="91392" marT="45696" marB="45696">
                    <a:solidFill>
                      <a:srgbClr val="FFE178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noProof="0"/>
                        <a:t>https://docs.python.org/3/library/time.html</a:t>
                      </a:r>
                    </a:p>
                  </a:txBody>
                  <a:tcPr marL="91392" marR="91392" marT="45696" marB="45696">
                    <a:solidFill>
                      <a:srgbClr val="FFE17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97836694"/>
                  </a:ext>
                </a:extLst>
              </a:tr>
              <a:tr h="461629"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>
                    <a:solidFill>
                      <a:srgbClr val="FFE178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noProof="0"/>
                        <a:t>Sys</a:t>
                      </a:r>
                    </a:p>
                  </a:txBody>
                  <a:tcPr marL="91392" marR="91392" marT="45696" marB="45696">
                    <a:solidFill>
                      <a:srgbClr val="FFE178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noProof="0"/>
                        <a:t>For interaction with interpreter (advanced)</a:t>
                      </a:r>
                    </a:p>
                  </a:txBody>
                  <a:tcPr marL="91392" marR="91392" marT="45696" marB="45696">
                    <a:solidFill>
                      <a:srgbClr val="FFE178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noProof="0" dirty="0"/>
                        <a:t>https://docs.python.org/3/library/sys.html</a:t>
                      </a:r>
                    </a:p>
                  </a:txBody>
                  <a:tcPr marL="91392" marR="91392" marT="45696" marB="45696">
                    <a:solidFill>
                      <a:srgbClr val="FFE17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3422548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6255297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B8E31DB-1896-4162-9DA2-8E739E10DCE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>
                <a:cs typeface="Arial"/>
              </a:rPr>
              <a:t>Overview: Essential Graphs of Seaborn</a:t>
            </a:r>
            <a:endParaRPr lang="en-US"/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0FD0066D-7D32-4705-9135-DB38E60EDFDF}"/>
              </a:ext>
            </a:extLst>
          </p:cNvPr>
          <p:cNvGraphicFramePr>
            <a:graphicFrameLocks noGrp="1"/>
          </p:cNvGraphicFramePr>
          <p:nvPr/>
        </p:nvGraphicFramePr>
        <p:xfrm>
          <a:off x="539809" y="1140572"/>
          <a:ext cx="8222451" cy="5561366"/>
        </p:xfrm>
        <a:graphic>
          <a:graphicData uri="http://schemas.openxmlformats.org/drawingml/2006/table">
            <a:tbl>
              <a:tblPr firstRow="1"/>
              <a:tblGrid>
                <a:gridCol w="1706934">
                  <a:extLst>
                    <a:ext uri="{9D8B030D-6E8A-4147-A177-3AD203B41FA5}">
                      <a16:colId xmlns:a16="http://schemas.microsoft.com/office/drawing/2014/main" val="3901641565"/>
                    </a:ext>
                  </a:extLst>
                </a:gridCol>
                <a:gridCol w="799399">
                  <a:extLst>
                    <a:ext uri="{9D8B030D-6E8A-4147-A177-3AD203B41FA5}">
                      <a16:colId xmlns:a16="http://schemas.microsoft.com/office/drawing/2014/main" val="3013576979"/>
                    </a:ext>
                  </a:extLst>
                </a:gridCol>
                <a:gridCol w="1642813">
                  <a:extLst>
                    <a:ext uri="{9D8B030D-6E8A-4147-A177-3AD203B41FA5}">
                      <a16:colId xmlns:a16="http://schemas.microsoft.com/office/drawing/2014/main" val="4220453358"/>
                    </a:ext>
                  </a:extLst>
                </a:gridCol>
                <a:gridCol w="1881963">
                  <a:extLst>
                    <a:ext uri="{9D8B030D-6E8A-4147-A177-3AD203B41FA5}">
                      <a16:colId xmlns:a16="http://schemas.microsoft.com/office/drawing/2014/main" val="3171551376"/>
                    </a:ext>
                  </a:extLst>
                </a:gridCol>
                <a:gridCol w="1531089">
                  <a:extLst>
                    <a:ext uri="{9D8B030D-6E8A-4147-A177-3AD203B41FA5}">
                      <a16:colId xmlns:a16="http://schemas.microsoft.com/office/drawing/2014/main" val="1381693247"/>
                    </a:ext>
                  </a:extLst>
                </a:gridCol>
                <a:gridCol w="660253">
                  <a:extLst>
                    <a:ext uri="{9D8B030D-6E8A-4147-A177-3AD203B41FA5}">
                      <a16:colId xmlns:a16="http://schemas.microsoft.com/office/drawing/2014/main" val="3708271897"/>
                    </a:ext>
                  </a:extLst>
                </a:gridCol>
              </a:tblGrid>
              <a:tr h="385739">
                <a:tc>
                  <a:txBody>
                    <a:bodyPr/>
                    <a:lstStyle/>
                    <a:p>
                      <a:pPr algn="ctr"/>
                      <a:r>
                        <a:rPr lang="en-US" sz="1300" b="1" i="0" noProof="0">
                          <a:latin typeface="Siemens Sans" pitchFamily="2" charset="0"/>
                        </a:rPr>
                        <a:t>Name</a:t>
                      </a:r>
                    </a:p>
                  </a:txBody>
                  <a:tcPr anchor="ctr">
                    <a:lnL w="12700" cmpd="sng">
                      <a:solidFill>
                        <a:schemeClr val="tx1"/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b="1" i="0" noProof="0">
                          <a:latin typeface="Siemens Sans" pitchFamily="2" charset="0"/>
                        </a:rPr>
                        <a:t>In SN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de-DE" sz="1300" b="1" i="0" u="none" strike="noStrike" cap="none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Siemens Sans" pitchFamily="2" charset="0"/>
                        </a:rPr>
                        <a:t>Useful for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b="1" i="0" noProof="0">
                          <a:latin typeface="Siemens Sans" pitchFamily="2" charset="0"/>
                        </a:rPr>
                        <a:t>Plot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b="1" i="0" noProof="0">
                          <a:latin typeface="Siemens Sans" pitchFamily="2" charset="0"/>
                        </a:rPr>
                        <a:t>Relative to …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altLang="de-DE" sz="1000" b="1" i="0" u="none" strike="noStrike" cap="none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Siemens Sans" pitchFamily="2" charset="0"/>
                        </a:rPr>
                        <a:t>Target variable</a:t>
                      </a:r>
                      <a:endParaRPr kumimoji="0" lang="en-US" altLang="de-DE" sz="1000" b="1" i="0" u="none" strike="noStrike" cap="none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Siemens Sans" pitchFamily="2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04663134"/>
                  </a:ext>
                </a:extLst>
              </a:tr>
              <a:tr h="950901">
                <a:tc>
                  <a:txBody>
                    <a:bodyPr/>
                    <a:lstStyle/>
                    <a:p>
                      <a:pPr algn="ctr"/>
                      <a:r>
                        <a:rPr kumimoji="0" lang="en-US" altLang="de-DE" sz="1300" b="1" i="0" u="none" strike="noStrike" cap="none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Siemens Sans" pitchFamily="2" charset="0"/>
                        </a:rPr>
                        <a:t>Histogram</a:t>
                      </a:r>
                      <a:endParaRPr lang="en-US" sz="1300" b="1" noProof="0">
                        <a:latin typeface="Siemens Sans" pitchFamily="2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b="1" noProof="0">
                          <a:solidFill>
                            <a:schemeClr val="tx1"/>
                          </a:solidFill>
                          <a:latin typeface="Siemens Sans" pitchFamily="2" charset="0"/>
                        </a:rPr>
                        <a:t>.</a:t>
                      </a:r>
                      <a:r>
                        <a:rPr lang="en-US" sz="1300" b="1" noProof="0" err="1">
                          <a:solidFill>
                            <a:schemeClr val="tx1"/>
                          </a:solidFill>
                          <a:latin typeface="Siemens Sans" pitchFamily="2" charset="0"/>
                        </a:rPr>
                        <a:t>histplot</a:t>
                      </a:r>
                      <a:r>
                        <a:rPr lang="en-US" sz="1300" b="1" noProof="0">
                          <a:solidFill>
                            <a:schemeClr val="tx1"/>
                          </a:solidFill>
                          <a:latin typeface="Siemens Sans" pitchFamily="2" charset="0"/>
                        </a:rPr>
                        <a:t>()</a:t>
                      </a:r>
                    </a:p>
                  </a:txBody>
                  <a:tcPr vert="vert27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85725" marR="0" lvl="0" indent="-8572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Char char="§"/>
                        <a:tabLst/>
                      </a:pPr>
                      <a:r>
                        <a:rPr kumimoji="0" lang="en-US" altLang="de-DE" sz="1100" b="0" i="0" u="none" strike="noStrike" cap="none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Siemens Sans" pitchFamily="2" charset="0"/>
                        </a:rPr>
                        <a:t>Central tendency </a:t>
                      </a:r>
                    </a:p>
                    <a:p>
                      <a:pPr marL="85725" marR="0" lvl="0" indent="-8572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Char char="§"/>
                        <a:tabLst/>
                      </a:pPr>
                      <a:r>
                        <a:rPr kumimoji="0" lang="en-US" altLang="de-DE" sz="1100" b="0" i="0" u="none" strike="noStrike" cap="none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Siemens Sans" pitchFamily="2" charset="0"/>
                        </a:rPr>
                        <a:t>Spread</a:t>
                      </a:r>
                    </a:p>
                    <a:p>
                      <a:pPr marL="85725" marR="0" lvl="0" indent="-8572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Char char="§"/>
                        <a:tabLst/>
                      </a:pPr>
                      <a:r>
                        <a:rPr kumimoji="0" lang="en-US" altLang="de-DE" sz="1100" b="0" i="0" u="none" strike="noStrike" cap="none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Siemens Sans" pitchFamily="2" charset="0"/>
                        </a:rPr>
                        <a:t>Distribution</a:t>
                      </a:r>
                    </a:p>
                    <a:p>
                      <a:pPr marL="85725" marR="0" lvl="0" indent="-8572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Char char="§"/>
                        <a:tabLst/>
                      </a:pPr>
                      <a:r>
                        <a:rPr kumimoji="0" lang="en-US" altLang="de-DE" sz="1100" b="0" i="0" u="none" strike="noStrike" cap="none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Siemens Sans" pitchFamily="2" charset="0"/>
                        </a:rPr>
                        <a:t>Outliers</a:t>
                      </a:r>
                      <a:endParaRPr lang="en-US" sz="1100" noProof="0">
                        <a:latin typeface="Siemens Sans" pitchFamily="2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noProof="0">
                        <a:latin typeface="Siemens Sans" pitchFamily="2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noProof="0">
                        <a:latin typeface="Siemens Sans" pitchFamily="2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5">
                  <a:txBody>
                    <a:bodyPr/>
                    <a:lstStyle/>
                    <a:p>
                      <a:pPr marL="0" marR="0" lvl="0" indent="0" algn="ctr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altLang="de-DE" sz="1000" b="1" i="0" u="none" strike="noStrike" cap="none" normalizeH="0" baseline="0" noProof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Siemens Sans" pitchFamily="2" charset="0"/>
                        </a:rPr>
                        <a:t>Continuous</a:t>
                      </a:r>
                      <a:r>
                        <a:rPr kumimoji="0" lang="de-DE" altLang="de-DE" sz="1000" b="1" i="0" u="none" strike="noStrike" cap="none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Siemens Sans" pitchFamily="2" charset="0"/>
                        </a:rPr>
                        <a:t> </a:t>
                      </a:r>
                      <a:r>
                        <a:rPr kumimoji="0" lang="de-DE" altLang="de-DE" sz="1000" b="1" i="0" u="none" strike="noStrike" cap="none" normalizeH="0" baseline="0" noProof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Siemens Sans" pitchFamily="2" charset="0"/>
                        </a:rPr>
                        <a:t>data</a:t>
                      </a:r>
                      <a:endParaRPr kumimoji="0" lang="en-US" altLang="de-DE" sz="1000" b="1" i="0" u="none" strike="noStrike" cap="none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Siemens Sans" pitchFamily="2" charset="0"/>
                      </a:endParaRPr>
                    </a:p>
                  </a:txBody>
                  <a:tcPr vert="vert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22909211"/>
                  </a:ext>
                </a:extLst>
              </a:tr>
              <a:tr h="842845">
                <a:tc>
                  <a:txBody>
                    <a:bodyPr/>
                    <a:lstStyle/>
                    <a:p>
                      <a:pPr marL="0" marR="0" lvl="0" indent="0" algn="ctr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de-DE" sz="1300" b="1" i="0" u="none" strike="noStrike" cap="none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Siemens Sans" pitchFamily="2" charset="0"/>
                        </a:rPr>
                        <a:t>Scatterplot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</a:pPr>
                      <a:r>
                        <a:rPr lang="en-US" sz="1300" b="1" noProof="0">
                          <a:solidFill>
                            <a:schemeClr val="tx1"/>
                          </a:solidFill>
                          <a:latin typeface="Siemens Sans" pitchFamily="2" charset="0"/>
                        </a:rPr>
                        <a:t>.</a:t>
                      </a:r>
                      <a:r>
                        <a:rPr lang="en-US" sz="1300" b="1" noProof="0" err="1">
                          <a:solidFill>
                            <a:schemeClr val="tx1"/>
                          </a:solidFill>
                          <a:latin typeface="Siemens Sans" pitchFamily="2" charset="0"/>
                        </a:rPr>
                        <a:t>relplot</a:t>
                      </a:r>
                      <a:r>
                        <a:rPr lang="en-US" sz="1300" b="1" noProof="0">
                          <a:solidFill>
                            <a:schemeClr val="tx1"/>
                          </a:solidFill>
                          <a:latin typeface="Siemens Sans" pitchFamily="2" charset="0"/>
                        </a:rPr>
                        <a:t>()</a:t>
                      </a:r>
                    </a:p>
                    <a:p>
                      <a:pPr algn="ctr">
                        <a:lnSpc>
                          <a:spcPct val="150000"/>
                        </a:lnSpc>
                      </a:pPr>
                      <a:r>
                        <a:rPr lang="en-US" sz="1100" b="0" noProof="0">
                          <a:solidFill>
                            <a:schemeClr val="tx1"/>
                          </a:solidFill>
                          <a:latin typeface="Siemens Sans" pitchFamily="2" charset="0"/>
                        </a:rPr>
                        <a:t>X-Axis is continuous</a:t>
                      </a:r>
                    </a:p>
                  </a:txBody>
                  <a:tcPr vert="vert27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85725" marR="0" lvl="0" indent="-8572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en-US" altLang="de-DE" sz="1100" b="0" i="0" u="none" strike="noStrike" cap="none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Siemens Sans" pitchFamily="2" charset="0"/>
                        </a:rPr>
                        <a:t>Correlation </a:t>
                      </a:r>
                    </a:p>
                    <a:p>
                      <a:pPr marL="85725" marR="0" lvl="0" indent="-8572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en-US" altLang="de-DE" sz="1100" b="0" i="0" u="none" strike="noStrike" cap="none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Siemens Sans" pitchFamily="2" charset="0"/>
                        </a:rPr>
                        <a:t>Outlier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noProof="0">
                        <a:latin typeface="Siemens Sans" pitchFamily="2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de-DE" sz="1100" b="0" i="0" u="none" strike="noStrike" cap="none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Siemens Sans" pitchFamily="2" charset="0"/>
                        </a:rPr>
                        <a:t>… other continuous data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/>
                      <a:endParaRPr lang="en-US" sz="110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27390503"/>
                  </a:ext>
                </a:extLst>
              </a:tr>
              <a:tr h="842845">
                <a:tc>
                  <a:txBody>
                    <a:bodyPr/>
                    <a:lstStyle/>
                    <a:p>
                      <a:pPr algn="ctr"/>
                      <a:r>
                        <a:rPr kumimoji="0" lang="en-US" altLang="de-DE" sz="1300" b="1" i="0" u="none" strike="noStrike" cap="none" normalizeH="0" baseline="0" noProof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Siemens Sans" pitchFamily="2" charset="0"/>
                        </a:rPr>
                        <a:t>Lineplot</a:t>
                      </a:r>
                      <a:endParaRPr lang="en-US" sz="1300" b="1" noProof="0">
                        <a:latin typeface="Siemens Sans" pitchFamily="2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/>
                      <a:endParaRPr lang="en-US" sz="110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85725" marR="0" lvl="0" indent="-8572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Char char="§"/>
                        <a:tabLst/>
                      </a:pPr>
                      <a:r>
                        <a:rPr kumimoji="0" lang="en-US" altLang="de-DE" sz="1100" b="0" i="0" u="none" strike="noStrike" cap="none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Siemens Sans" pitchFamily="2" charset="0"/>
                        </a:rPr>
                        <a:t>Time effect</a:t>
                      </a:r>
                    </a:p>
                    <a:p>
                      <a:pPr marL="85725" marR="0" lvl="0" indent="-8572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Char char="§"/>
                        <a:tabLst/>
                      </a:pPr>
                      <a:r>
                        <a:rPr kumimoji="0" lang="en-US" altLang="de-DE" sz="1100" b="0" i="0" u="none" strike="noStrike" cap="none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Siemens Sans" pitchFamily="2" charset="0"/>
                        </a:rPr>
                        <a:t>Spread</a:t>
                      </a:r>
                    </a:p>
                    <a:p>
                      <a:pPr marL="85725" marR="0" lvl="0" indent="-8572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Char char="§"/>
                        <a:tabLst/>
                      </a:pPr>
                      <a:r>
                        <a:rPr kumimoji="0" lang="en-US" altLang="de-DE" sz="1100" b="0" i="0" u="none" strike="noStrike" cap="none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Siemens Sans" pitchFamily="2" charset="0"/>
                        </a:rPr>
                        <a:t>Outliers</a:t>
                      </a:r>
                      <a:endParaRPr lang="en-US" sz="1100" noProof="0">
                        <a:latin typeface="Siemens Sans" pitchFamily="2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noProof="0">
                        <a:latin typeface="Siemens Sans" pitchFamily="2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de-DE" sz="1100" b="0" i="0" u="none" strike="noStrike" cap="none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Siemens Sans" pitchFamily="2" charset="0"/>
                        </a:rPr>
                        <a:t>… tim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/>
                      <a:endParaRPr lang="en-US" sz="110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75084079"/>
                  </a:ext>
                </a:extLst>
              </a:tr>
              <a:tr h="842845">
                <a:tc>
                  <a:txBody>
                    <a:bodyPr/>
                    <a:lstStyle/>
                    <a:p>
                      <a:pPr algn="ctr"/>
                      <a:r>
                        <a:rPr kumimoji="0" lang="en-US" altLang="de-DE" sz="1300" b="1" i="0" u="none" strike="noStrike" cap="none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Siemens Sans" pitchFamily="2" charset="0"/>
                        </a:rPr>
                        <a:t>Boxplot</a:t>
                      </a:r>
                      <a:endParaRPr lang="en-US" sz="1300" b="1" noProof="0">
                        <a:latin typeface="Siemens Sans" pitchFamily="2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</a:pPr>
                      <a:r>
                        <a:rPr lang="en-US" sz="1300" b="1" noProof="0">
                          <a:solidFill>
                            <a:schemeClr val="tx1"/>
                          </a:solidFill>
                          <a:latin typeface="Siemens Sans" pitchFamily="2" charset="0"/>
                        </a:rPr>
                        <a:t>.</a:t>
                      </a:r>
                      <a:r>
                        <a:rPr lang="en-US" sz="1300" b="1" noProof="0" err="1">
                          <a:solidFill>
                            <a:schemeClr val="tx1"/>
                          </a:solidFill>
                          <a:latin typeface="Siemens Sans" pitchFamily="2" charset="0"/>
                        </a:rPr>
                        <a:t>catplot</a:t>
                      </a:r>
                      <a:r>
                        <a:rPr lang="en-US" sz="1300" b="1" noProof="0">
                          <a:solidFill>
                            <a:schemeClr val="tx1"/>
                          </a:solidFill>
                          <a:latin typeface="Siemens Sans" pitchFamily="2" charset="0"/>
                        </a:rPr>
                        <a:t>()</a:t>
                      </a:r>
                    </a:p>
                    <a:p>
                      <a:pPr algn="ctr">
                        <a:lnSpc>
                          <a:spcPct val="150000"/>
                        </a:lnSpc>
                      </a:pPr>
                      <a:r>
                        <a:rPr lang="en-US" sz="1100" b="0" noProof="0">
                          <a:solidFill>
                            <a:schemeClr val="tx1"/>
                          </a:solidFill>
                          <a:latin typeface="Siemens Sans" pitchFamily="2" charset="0"/>
                        </a:rPr>
                        <a:t>X-Axis is categorical</a:t>
                      </a:r>
                    </a:p>
                  </a:txBody>
                  <a:tcPr vert="vert27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85725" marR="0" lvl="0" indent="-8572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Char char="§"/>
                        <a:tabLst/>
                      </a:pPr>
                      <a:r>
                        <a:rPr kumimoji="0" lang="en-US" altLang="de-DE" sz="1100" b="0" i="0" u="none" strike="noStrike" cap="none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Siemens Sans" pitchFamily="2" charset="0"/>
                        </a:rPr>
                        <a:t>Group effects</a:t>
                      </a:r>
                    </a:p>
                    <a:p>
                      <a:pPr marL="85725" marR="0" lvl="0" indent="-8572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Char char="§"/>
                        <a:tabLst/>
                      </a:pPr>
                      <a:r>
                        <a:rPr kumimoji="0" lang="en-US" altLang="de-DE" sz="1100" b="0" i="0" u="none" strike="noStrike" cap="none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Siemens Sans" pitchFamily="2" charset="0"/>
                        </a:rPr>
                        <a:t>Central tendency</a:t>
                      </a:r>
                    </a:p>
                    <a:p>
                      <a:pPr marL="85725" marR="0" lvl="0" indent="-8572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Char char="§"/>
                        <a:tabLst/>
                      </a:pPr>
                      <a:r>
                        <a:rPr kumimoji="0" lang="en-US" altLang="de-DE" sz="1100" b="0" i="0" u="none" strike="noStrike" cap="none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Siemens Sans" pitchFamily="2" charset="0"/>
                        </a:rPr>
                        <a:t>Spread</a:t>
                      </a:r>
                    </a:p>
                    <a:p>
                      <a:pPr marL="85725" marR="0" lvl="0" indent="-8572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Char char="§"/>
                        <a:tabLst/>
                      </a:pPr>
                      <a:r>
                        <a:rPr kumimoji="0" lang="en-US" altLang="de-DE" sz="1100" b="0" i="0" u="none" strike="noStrike" cap="none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Siemens Sans" pitchFamily="2" charset="0"/>
                        </a:rPr>
                        <a:t>Distribution</a:t>
                      </a:r>
                    </a:p>
                    <a:p>
                      <a:pPr marL="85725" marR="0" lvl="0" indent="-8572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Char char="§"/>
                        <a:tabLst/>
                      </a:pPr>
                      <a:r>
                        <a:rPr kumimoji="0" lang="en-US" altLang="de-DE" sz="1100" b="0" i="0" u="none" strike="noStrike" cap="none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Siemens Sans" pitchFamily="2" charset="0"/>
                        </a:rPr>
                        <a:t>Outliers</a:t>
                      </a:r>
                      <a:endParaRPr lang="en-US" sz="1100" b="1" noProof="0">
                        <a:latin typeface="Siemens Sans" pitchFamily="2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noProof="0">
                        <a:latin typeface="Siemens Sans" pitchFamily="2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de-DE" sz="1100" b="0" i="0" u="none" strike="noStrike" cap="none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Siemens Sans" pitchFamily="2" charset="0"/>
                        </a:rPr>
                        <a:t>… categorical data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/>
                      <a:endParaRPr lang="en-US" sz="110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35494061"/>
                  </a:ext>
                </a:extLst>
              </a:tr>
              <a:tr h="842845">
                <a:tc>
                  <a:txBody>
                    <a:bodyPr/>
                    <a:lstStyle/>
                    <a:p>
                      <a:pPr algn="ctr"/>
                      <a:r>
                        <a:rPr kumimoji="0" lang="en-US" altLang="de-DE" sz="1300" b="1" i="0" u="none" strike="noStrike" cap="none" normalizeH="0" baseline="0" noProof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Siemens Sans" pitchFamily="2" charset="0"/>
                        </a:rPr>
                        <a:t>Swarmplot</a:t>
                      </a:r>
                      <a:endParaRPr lang="en-US" sz="1300" b="1" noProof="0">
                        <a:latin typeface="Siemens Sans" pitchFamily="2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/>
                      <a:endParaRPr lang="en-US" sz="110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algn="ctr"/>
                      <a:endParaRPr lang="en-US" sz="110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noProof="0">
                        <a:latin typeface="Siemens Sans" pitchFamily="2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/>
                      <a:endParaRPr lang="en-US" sz="1100">
                        <a:latin typeface="Siemens Sans" pitchFamily="2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algn="ctr"/>
                      <a:endParaRPr lang="en-US" sz="110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49732958"/>
                  </a:ext>
                </a:extLst>
              </a:tr>
              <a:tr h="842845">
                <a:tc>
                  <a:txBody>
                    <a:bodyPr/>
                    <a:lstStyle/>
                    <a:p>
                      <a:pPr algn="ctr"/>
                      <a:r>
                        <a:rPr kumimoji="0" lang="en-US" altLang="de-DE" sz="1300" b="1" i="0" u="none" strike="noStrike" cap="none" normalizeH="0" baseline="0" noProof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Siemens Sans" pitchFamily="2" charset="0"/>
                        </a:rPr>
                        <a:t>Countplot</a:t>
                      </a:r>
                      <a:endParaRPr lang="en-US" sz="1300" b="1" noProof="0">
                        <a:latin typeface="Siemens Sans" pitchFamily="2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/>
                      <a:endParaRPr lang="en-US" sz="110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85725" marR="0" lvl="0" indent="-8572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Char char="§"/>
                        <a:tabLst/>
                      </a:pPr>
                      <a:r>
                        <a:rPr kumimoji="0" lang="en-US" altLang="de-DE" sz="1100" b="0" i="0" u="none" strike="noStrike" cap="none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Siemens Sans" pitchFamily="2" charset="0"/>
                        </a:rPr>
                        <a:t>Counts group effects</a:t>
                      </a:r>
                      <a:endParaRPr lang="en-US" sz="1100" noProof="0">
                        <a:latin typeface="Siemens Sans" pitchFamily="2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noProof="0">
                        <a:latin typeface="Siemens Sans" pitchFamily="2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de-DE" sz="1100" b="0" i="0" u="none" strike="noStrike" cap="none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Siemens Sans" pitchFamily="2" charset="0"/>
                        </a:rPr>
                        <a:t>… categorical data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669933"/>
                        </a:buClr>
                        <a:buSzPct val="80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altLang="de-DE" sz="1000" b="1" i="0" u="none" strike="noStrike" cap="none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Siemens Sans" pitchFamily="2" charset="0"/>
                        </a:rPr>
                        <a:t>Quantitative data</a:t>
                      </a:r>
                    </a:p>
                  </a:txBody>
                  <a:tcPr vert="vert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52151195"/>
                  </a:ext>
                </a:extLst>
              </a:tr>
            </a:tbl>
          </a:graphicData>
        </a:graphic>
      </p:graphicFrame>
      <p:pic>
        <p:nvPicPr>
          <p:cNvPr id="5" name="Grafik 5">
            <a:extLst>
              <a:ext uri="{FF2B5EF4-FFF2-40B4-BE49-F238E27FC236}">
                <a16:creationId xmlns:a16="http://schemas.microsoft.com/office/drawing/2014/main" id="{EA555366-06E2-4688-8FD3-9938FB10E809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5864" t="6092" r="7283" b="3672"/>
          <a:stretch/>
        </p:blipFill>
        <p:spPr>
          <a:xfrm>
            <a:off x="4861074" y="3352310"/>
            <a:ext cx="1497907" cy="775418"/>
          </a:xfrm>
          <a:prstGeom prst="rect">
            <a:avLst/>
          </a:prstGeom>
          <a:solidFill>
            <a:schemeClr val="bg1"/>
          </a:solidFill>
        </p:spPr>
      </p:pic>
      <p:pic>
        <p:nvPicPr>
          <p:cNvPr id="6" name="Grafik 3">
            <a:extLst>
              <a:ext uri="{FF2B5EF4-FFF2-40B4-BE49-F238E27FC236}">
                <a16:creationId xmlns:a16="http://schemas.microsoft.com/office/drawing/2014/main" id="{5B550280-5C9A-4A09-8BA4-3ECE6F79FD8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874750" y="1622594"/>
            <a:ext cx="1493021" cy="775418"/>
          </a:xfrm>
          <a:prstGeom prst="rect">
            <a:avLst/>
          </a:prstGeom>
          <a:solidFill>
            <a:schemeClr val="bg1"/>
          </a:solidFill>
        </p:spPr>
      </p:pic>
      <p:pic>
        <p:nvPicPr>
          <p:cNvPr id="7" name="Grafik 7">
            <a:extLst>
              <a:ext uri="{FF2B5EF4-FFF2-40B4-BE49-F238E27FC236}">
                <a16:creationId xmlns:a16="http://schemas.microsoft.com/office/drawing/2014/main" id="{C16D7A36-6883-41BC-B7D4-8CBCFB0DD94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867421" y="5053516"/>
            <a:ext cx="1497907" cy="775418"/>
          </a:xfrm>
          <a:prstGeom prst="rect">
            <a:avLst/>
          </a:prstGeom>
          <a:solidFill>
            <a:schemeClr val="bg1"/>
          </a:solidFill>
        </p:spPr>
      </p:pic>
      <p:pic>
        <p:nvPicPr>
          <p:cNvPr id="8" name="Grafik 9">
            <a:extLst>
              <a:ext uri="{FF2B5EF4-FFF2-40B4-BE49-F238E27FC236}">
                <a16:creationId xmlns:a16="http://schemas.microsoft.com/office/drawing/2014/main" id="{E328754D-E07E-49F9-851E-C13A502C7B1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872306" y="2520441"/>
            <a:ext cx="1497907" cy="775418"/>
          </a:xfrm>
          <a:prstGeom prst="rect">
            <a:avLst/>
          </a:prstGeom>
          <a:solidFill>
            <a:schemeClr val="bg1"/>
          </a:solidFill>
        </p:spPr>
      </p:pic>
      <p:pic>
        <p:nvPicPr>
          <p:cNvPr id="9" name="Grafik 13">
            <a:extLst>
              <a:ext uri="{FF2B5EF4-FFF2-40B4-BE49-F238E27FC236}">
                <a16:creationId xmlns:a16="http://schemas.microsoft.com/office/drawing/2014/main" id="{ACC1AA6B-9138-4858-BA3F-6521B465A6A5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867420" y="5916019"/>
            <a:ext cx="1497907" cy="775418"/>
          </a:xfrm>
          <a:prstGeom prst="rect">
            <a:avLst/>
          </a:prstGeom>
          <a:solidFill>
            <a:schemeClr val="bg1"/>
          </a:solidFill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BB263CAB-F5F4-4119-B3B6-42FCD0596378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867421" y="4193707"/>
            <a:ext cx="1497907" cy="768014"/>
          </a:xfrm>
          <a:prstGeom prst="rect">
            <a:avLst/>
          </a:prstGeom>
          <a:solidFill>
            <a:schemeClr val="bg1"/>
          </a:solidFill>
        </p:spPr>
      </p:pic>
    </p:spTree>
    <p:extLst>
      <p:ext uri="{BB962C8B-B14F-4D97-AF65-F5344CB8AC3E}">
        <p14:creationId xmlns:p14="http://schemas.microsoft.com/office/powerpoint/2010/main" val="100703358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79A16D7E-7C00-42EF-B608-3DC55787BD74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noProof="0" dirty="0"/>
              <a:t>If you want to use Python at SE after this class…</a:t>
            </a:r>
          </a:p>
        </p:txBody>
      </p:sp>
      <p:sp>
        <p:nvSpPr>
          <p:cNvPr id="4" name="Subhead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sz="1400" kern="0" noProof="0"/>
              <a:t>Power and Gas – Large Gas Turbines, Generators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299681035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2EB552F1-624C-47F8-9EA8-EEAB7789850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1"/>
            <a:ext cx="11734799" cy="1414800"/>
          </a:xfrm>
        </p:spPr>
        <p:txBody>
          <a:bodyPr/>
          <a:lstStyle/>
          <a:p>
            <a:r>
              <a:rPr lang="en-US" noProof="0" dirty="0"/>
              <a:t>The Classical Package for Python: </a:t>
            </a:r>
            <a:br>
              <a:rPr lang="en-US" noProof="0" dirty="0"/>
            </a:br>
            <a:r>
              <a:rPr lang="en-US" noProof="0" dirty="0"/>
              <a:t>Anaconda </a:t>
            </a:r>
            <a:r>
              <a:rPr lang="en-US" sz="1800" noProof="0" dirty="0"/>
              <a:t>(not an official SE-software for download, but often just downloaded anyway)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481EB52A-A039-4A4B-AF3F-489AC811FE09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355544" y="1414463"/>
            <a:ext cx="6702481" cy="317005"/>
          </a:xfrm>
        </p:spPr>
        <p:txBody>
          <a:bodyPr/>
          <a:lstStyle/>
          <a:p>
            <a:r>
              <a:rPr lang="en-US" noProof="0" dirty="0">
                <a:hlinkClick r:id="rId2"/>
              </a:rPr>
              <a:t>https://www.anaconda.com/distribution/</a:t>
            </a:r>
            <a:endParaRPr lang="en-US" noProof="0" dirty="0"/>
          </a:p>
          <a:p>
            <a:endParaRPr lang="en-US" noProof="0" dirty="0"/>
          </a:p>
          <a:p>
            <a:endParaRPr lang="en-US" noProof="0" dirty="0"/>
          </a:p>
        </p:txBody>
      </p:sp>
      <p:pic>
        <p:nvPicPr>
          <p:cNvPr id="3" name="Picture 2" descr="Graphical user interface, application&#10;&#10;Description automatically generated">
            <a:extLst>
              <a:ext uri="{FF2B5EF4-FFF2-40B4-BE49-F238E27FC236}">
                <a16:creationId xmlns:a16="http://schemas.microsoft.com/office/drawing/2014/main" id="{BACD186F-254C-47BD-9FEB-758149E0159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516402" y="2191612"/>
            <a:ext cx="3123773" cy="2034915"/>
          </a:xfrm>
          <a:prstGeom prst="rect">
            <a:avLst/>
          </a:prstGeom>
          <a:ln>
            <a:solidFill>
              <a:schemeClr val="accent3"/>
            </a:solidFill>
          </a:ln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B475DCAC-3039-4D42-9893-BCB533E693E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55544" y="1844499"/>
            <a:ext cx="4673655" cy="4477594"/>
          </a:xfrm>
          <a:prstGeom prst="rect">
            <a:avLst/>
          </a:prstGeom>
          <a:ln>
            <a:solidFill>
              <a:schemeClr val="accent3"/>
            </a:solidFill>
          </a:ln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97A33C95-4EB3-43B2-9420-CBCBEC9CF47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809074" y="4339558"/>
            <a:ext cx="5662202" cy="1905376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56AD7111-5737-4640-8B6B-111122C4B18A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814742" y="1349533"/>
            <a:ext cx="2827425" cy="920831"/>
          </a:xfrm>
          <a:prstGeom prst="rect">
            <a:avLst/>
          </a:prstGeom>
          <a:ln>
            <a:solidFill>
              <a:schemeClr val="accent3"/>
            </a:solidFill>
          </a:ln>
        </p:spPr>
      </p:pic>
    </p:spTree>
    <p:extLst>
      <p:ext uri="{BB962C8B-B14F-4D97-AF65-F5344CB8AC3E}">
        <p14:creationId xmlns:p14="http://schemas.microsoft.com/office/powerpoint/2010/main" val="38460335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4690" name="cdtRectangle 2 Id114690"/>
          <p:cNvSpPr>
            <a:spLocks noGrp="1" noChangeArrowheads="1"/>
          </p:cNvSpPr>
          <p:nvPr>
            <p:ph type="title"/>
          </p:nvPr>
        </p:nvSpPr>
        <p:spPr>
          <a:xfrm>
            <a:off x="0" y="1"/>
            <a:ext cx="10547683" cy="1414800"/>
          </a:xfrm>
        </p:spPr>
        <p:txBody>
          <a:bodyPr/>
          <a:lstStyle/>
          <a:p>
            <a:r>
              <a:rPr lang="en-US" noProof="0" dirty="0">
                <a:latin typeface="Arial" pitchFamily="34" charset="0"/>
              </a:rPr>
              <a:t>A good and “correct” way around Anaconda at ES is EnergyAI:</a:t>
            </a:r>
            <a:br>
              <a:rPr lang="en-US" noProof="0" dirty="0">
                <a:latin typeface="Arial" pitchFamily="34" charset="0"/>
              </a:rPr>
            </a:br>
            <a:r>
              <a:rPr lang="en-US" sz="1800" b="0" noProof="0" dirty="0">
                <a:latin typeface="Arial" pitchFamily="34" charset="0"/>
              </a:rPr>
              <a:t>Apply at: </a:t>
            </a:r>
            <a:r>
              <a:rPr lang="en-US" sz="1800" b="0" dirty="0">
                <a:hlinkClick r:id="rId4"/>
              </a:rPr>
              <a:t>https://energyai.siemens-energy.cloud/</a:t>
            </a:r>
            <a:br>
              <a:rPr lang="en-US" sz="1800" b="0" dirty="0"/>
            </a:br>
            <a:r>
              <a:rPr lang="en-US" sz="1800" b="0" dirty="0"/>
              <a:t>For problems contact: </a:t>
            </a:r>
            <a:r>
              <a:rPr lang="en-US" sz="1800" b="0" dirty="0" err="1"/>
              <a:t>contact@energyai.siemens-energy.cloud</a:t>
            </a:r>
            <a:br>
              <a:rPr lang="en-US" sz="2000" dirty="0"/>
            </a:br>
            <a:r>
              <a:rPr lang="en-US" noProof="0" dirty="0">
                <a:latin typeface="Arial" pitchFamily="34" charset="0"/>
              </a:rPr>
              <a:t> </a:t>
            </a:r>
          </a:p>
        </p:txBody>
      </p:sp>
      <p:sp>
        <p:nvSpPr>
          <p:cNvPr id="8" name="cdtRectangle 3 Id114691"/>
          <p:cNvSpPr>
            <a:spLocks noGrp="1" noChangeArrowheads="1"/>
          </p:cNvSpPr>
          <p:nvPr>
            <p:ph idx="4294967295"/>
          </p:nvPr>
        </p:nvSpPr>
        <p:spPr>
          <a:xfrm>
            <a:off x="600075" y="1321666"/>
            <a:ext cx="5722938" cy="4656137"/>
          </a:xfrm>
        </p:spPr>
        <p:txBody>
          <a:bodyPr/>
          <a:lstStyle/>
          <a:p>
            <a:r>
              <a:rPr lang="en-US" sz="2000" noProof="0" dirty="0"/>
              <a:t>Why EnergyAI?</a:t>
            </a:r>
            <a:endParaRPr lang="en-US" sz="1599" noProof="0" dirty="0">
              <a:ea typeface="Arial Unicode MS" panose="020B0604020202020204" pitchFamily="34" charset="-128"/>
              <a:cs typeface="Arial Unicode MS" panose="020B0604020202020204" pitchFamily="34" charset="-128"/>
            </a:endParaRPr>
          </a:p>
          <a:p>
            <a:endParaRPr lang="en-US" sz="1599" noProof="0" dirty="0">
              <a:ea typeface="Arial Unicode MS" panose="020B0604020202020204" pitchFamily="34" charset="-128"/>
              <a:cs typeface="Arial Unicode MS" panose="020B0604020202020204" pitchFamily="34" charset="-128"/>
            </a:endParaRPr>
          </a:p>
          <a:p>
            <a:r>
              <a:rPr lang="en-US" sz="1599" noProof="0" dirty="0">
                <a:ea typeface="Arial Unicode MS" panose="020B0604020202020204" pitchFamily="34" charset="-128"/>
                <a:cs typeface="Arial Unicode MS" panose="020B0604020202020204" pitchFamily="34" charset="-128"/>
              </a:rPr>
              <a:t>The </a:t>
            </a:r>
            <a:r>
              <a:rPr lang="en-US" sz="1599" noProof="0" dirty="0"/>
              <a:t>EnergyAI </a:t>
            </a:r>
            <a:r>
              <a:rPr lang="en-US" sz="1599" noProof="0" dirty="0">
                <a:ea typeface="Arial Unicode MS" panose="020B0604020202020204" pitchFamily="34" charset="-128"/>
                <a:cs typeface="Arial Unicode MS" panose="020B0604020202020204" pitchFamily="34" charset="-128"/>
              </a:rPr>
              <a:t>- Analysis platform…</a:t>
            </a:r>
          </a:p>
          <a:p>
            <a:endParaRPr lang="en-US" sz="1599" noProof="0" dirty="0">
              <a:ea typeface="Arial Unicode MS" panose="020B0604020202020204" pitchFamily="34" charset="-128"/>
              <a:cs typeface="Arial Unicode MS" panose="020B0604020202020204" pitchFamily="34" charset="-128"/>
            </a:endParaRPr>
          </a:p>
          <a:p>
            <a:endParaRPr lang="en-US" sz="1599" noProof="0" dirty="0">
              <a:ea typeface="Arial Unicode MS" panose="020B0604020202020204" pitchFamily="34" charset="-128"/>
              <a:cs typeface="Arial Unicode MS" panose="020B0604020202020204" pitchFamily="34" charset="-128"/>
            </a:endParaRPr>
          </a:p>
          <a:p>
            <a:r>
              <a:rPr lang="en-US" sz="1599" noProof="0" dirty="0">
                <a:ea typeface="Arial Unicode MS" panose="020B0604020202020204" pitchFamily="34" charset="-128"/>
                <a:cs typeface="Arial Unicode MS" panose="020B0604020202020204" pitchFamily="34" charset="-128"/>
              </a:rPr>
              <a:t>	…offers an efficient interface to handle large data requests on multiple plants or units</a:t>
            </a:r>
          </a:p>
          <a:p>
            <a:endParaRPr lang="en-US" sz="1599" noProof="0" dirty="0">
              <a:ea typeface="Arial Unicode MS" panose="020B0604020202020204" pitchFamily="34" charset="-128"/>
              <a:cs typeface="Arial Unicode MS" panose="020B0604020202020204" pitchFamily="34" charset="-128"/>
            </a:endParaRPr>
          </a:p>
          <a:p>
            <a:r>
              <a:rPr lang="en-US" sz="1599" noProof="0" dirty="0">
                <a:ea typeface="Arial Unicode MS" panose="020B0604020202020204" pitchFamily="34" charset="-128"/>
                <a:cs typeface="Arial Unicode MS" panose="020B0604020202020204" pitchFamily="34" charset="-128"/>
              </a:rPr>
              <a:t>	…enables the user to perform postprocessing on-the-fly,  without further data handling steps</a:t>
            </a:r>
          </a:p>
          <a:p>
            <a:endParaRPr lang="en-US" sz="1599" noProof="0" dirty="0">
              <a:ea typeface="Arial Unicode MS" panose="020B0604020202020204" pitchFamily="34" charset="-128"/>
              <a:cs typeface="Arial Unicode MS" panose="020B0604020202020204" pitchFamily="34" charset="-128"/>
            </a:endParaRPr>
          </a:p>
          <a:p>
            <a:r>
              <a:rPr lang="en-US" sz="1599" noProof="0" dirty="0">
                <a:ea typeface="Arial Unicode MS" panose="020B0604020202020204" pitchFamily="34" charset="-128"/>
                <a:cs typeface="Arial Unicode MS" panose="020B0604020202020204" pitchFamily="34" charset="-128"/>
              </a:rPr>
              <a:t>	…provides a standardized GPN System to address signals across all plants and units</a:t>
            </a:r>
          </a:p>
          <a:p>
            <a:endParaRPr lang="en-US" sz="1599" noProof="0" dirty="0">
              <a:ea typeface="Arial Unicode MS" panose="020B0604020202020204" pitchFamily="34" charset="-128"/>
              <a:cs typeface="Arial Unicode MS" panose="020B0604020202020204" pitchFamily="34" charset="-128"/>
            </a:endParaRPr>
          </a:p>
          <a:p>
            <a:r>
              <a:rPr lang="en-US" sz="1599" noProof="0" dirty="0">
                <a:ea typeface="Arial Unicode MS" panose="020B0604020202020204" pitchFamily="34" charset="-128"/>
                <a:cs typeface="Arial Unicode MS" panose="020B0604020202020204" pitchFamily="34" charset="-128"/>
              </a:rPr>
              <a:t>	…executes all operations outsourced on a server and makes results available for client</a:t>
            </a:r>
          </a:p>
          <a:p>
            <a:endParaRPr lang="en-US" sz="1599" noProof="0" dirty="0">
              <a:ea typeface="Arial Unicode MS" panose="020B0604020202020204" pitchFamily="34" charset="-128"/>
              <a:cs typeface="Arial Unicode MS" panose="020B0604020202020204" pitchFamily="34" charset="-128"/>
              <a:sym typeface="Wingdings" panose="05000000000000000000" pitchFamily="2" charset="2"/>
            </a:endParaRPr>
          </a:p>
          <a:p>
            <a:endParaRPr lang="en-US" sz="1599" noProof="0" dirty="0">
              <a:ea typeface="Arial Unicode MS" panose="020B0604020202020204" pitchFamily="34" charset="-128"/>
              <a:cs typeface="Arial Unicode MS" panose="020B0604020202020204" pitchFamily="34" charset="-128"/>
              <a:sym typeface="Wingdings" panose="05000000000000000000" pitchFamily="2" charset="2"/>
            </a:endParaRPr>
          </a:p>
          <a:p>
            <a:pPr marL="285607" indent="-285607">
              <a:buFont typeface="Arial" panose="020B0604020202020204" pitchFamily="34" charset="0"/>
              <a:buChar char="•"/>
            </a:pPr>
            <a:endParaRPr lang="en-US" sz="1599" noProof="0" dirty="0">
              <a:ea typeface="Arial Unicode MS" panose="020B0604020202020204" pitchFamily="34" charset="-128"/>
              <a:cs typeface="Arial Unicode MS" panose="020B0604020202020204" pitchFamily="34" charset="-128"/>
            </a:endParaRPr>
          </a:p>
          <a:p>
            <a:pPr marL="285607" indent="-285607">
              <a:buFont typeface="Arial" panose="020B0604020202020204" pitchFamily="34" charset="0"/>
              <a:buChar char="•"/>
            </a:pPr>
            <a:endParaRPr lang="en-US" sz="1599" noProof="0" dirty="0">
              <a:ea typeface="Arial Unicode MS" panose="020B0604020202020204" pitchFamily="34" charset="-128"/>
              <a:cs typeface="Arial Unicode MS" panose="020B0604020202020204" pitchFamily="34" charset="-128"/>
            </a:endParaRPr>
          </a:p>
          <a:p>
            <a:pPr marL="285607" indent="-285607">
              <a:buFont typeface="Arial" panose="020B0604020202020204" pitchFamily="34" charset="0"/>
              <a:buChar char="•"/>
            </a:pPr>
            <a:endParaRPr lang="en-US" sz="1599" noProof="0" dirty="0">
              <a:ea typeface="Arial Unicode MS" panose="020B0604020202020204" pitchFamily="34" charset="-128"/>
              <a:cs typeface="Arial Unicode MS" panose="020B0604020202020204" pitchFamily="34" charset="-128"/>
            </a:endParaRPr>
          </a:p>
          <a:p>
            <a:pPr marL="285607" indent="-285607">
              <a:buFont typeface="Arial" panose="020B0604020202020204" pitchFamily="34" charset="0"/>
              <a:buChar char="•"/>
            </a:pPr>
            <a:endParaRPr lang="en-US" sz="1599" noProof="0" dirty="0"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2" name="Textfeld 1"/>
          <p:cNvSpPr txBox="1"/>
          <p:nvPr/>
        </p:nvSpPr>
        <p:spPr>
          <a:xfrm>
            <a:off x="4872501" y="1441034"/>
            <a:ext cx="913924" cy="913924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10000"/>
              </a:lnSpc>
            </a:pPr>
            <a:endParaRPr lang="en-US" sz="1199"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A56D0AED-026A-4454-90D5-3963CD38072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684893" y="1321666"/>
            <a:ext cx="5033465" cy="4031843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539552514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4690" name="cdtRectangle 2 Id114690"/>
          <p:cNvSpPr>
            <a:spLocks noGrp="1" noChangeArrowheads="1"/>
          </p:cNvSpPr>
          <p:nvPr>
            <p:ph type="title"/>
          </p:nvPr>
        </p:nvSpPr>
        <p:spPr>
          <a:xfrm>
            <a:off x="0" y="-61068"/>
            <a:ext cx="9659938" cy="1414800"/>
          </a:xfrm>
        </p:spPr>
        <p:txBody>
          <a:bodyPr/>
          <a:lstStyle/>
          <a:p>
            <a:r>
              <a:rPr lang="en-US" noProof="0" dirty="0">
                <a:latin typeface="Arial" pitchFamily="34" charset="0"/>
              </a:rPr>
              <a:t>Go to “</a:t>
            </a:r>
            <a:r>
              <a:rPr lang="en-US" noProof="0" dirty="0" err="1">
                <a:latin typeface="Arial" pitchFamily="34" charset="0"/>
              </a:rPr>
              <a:t>Analyse</a:t>
            </a:r>
            <a:r>
              <a:rPr lang="en-US" noProof="0" dirty="0">
                <a:latin typeface="Arial" pitchFamily="34" charset="0"/>
              </a:rPr>
              <a:t>”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B7C1BC33-32A1-4FDC-95B2-97BD62920351}"/>
              </a:ext>
            </a:extLst>
          </p:cNvPr>
          <p:cNvGrpSpPr/>
          <p:nvPr/>
        </p:nvGrpSpPr>
        <p:grpSpPr>
          <a:xfrm>
            <a:off x="3541211" y="1007815"/>
            <a:ext cx="7783084" cy="4842369"/>
            <a:chOff x="1198061" y="1228638"/>
            <a:chExt cx="7783084" cy="4842369"/>
          </a:xfrm>
        </p:grpSpPr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497F4B6C-28FD-481D-B73F-952601077473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2338160" y="1228638"/>
              <a:ext cx="6642985" cy="4842369"/>
            </a:xfrm>
            <a:prstGeom prst="rect">
              <a:avLst/>
            </a:prstGeom>
          </p:spPr>
        </p:pic>
        <p:sp>
          <p:nvSpPr>
            <p:cNvPr id="4" name="Rechteck 3">
              <a:extLst>
                <a:ext uri="{FF2B5EF4-FFF2-40B4-BE49-F238E27FC236}">
                  <a16:creationId xmlns:a16="http://schemas.microsoft.com/office/drawing/2014/main" id="{629A9833-4837-4F5B-B2CC-41462FBAD9BA}"/>
                </a:ext>
              </a:extLst>
            </p:cNvPr>
            <p:cNvSpPr/>
            <p:nvPr/>
          </p:nvSpPr>
          <p:spPr bwMode="auto">
            <a:xfrm>
              <a:off x="2657283" y="2511440"/>
              <a:ext cx="1474446" cy="1757508"/>
            </a:xfrm>
            <a:prstGeom prst="rect">
              <a:avLst/>
            </a:prstGeom>
            <a:noFill/>
            <a:ln w="34925">
              <a:solidFill>
                <a:srgbClr val="FF0000"/>
              </a:solidFill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en-US" sz="1799"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16" name="Pfeil: nach rechts 2">
              <a:extLst>
                <a:ext uri="{FF2B5EF4-FFF2-40B4-BE49-F238E27FC236}">
                  <a16:creationId xmlns:a16="http://schemas.microsoft.com/office/drawing/2014/main" id="{A1CEA5C6-3499-499E-9C58-C224104DFCE2}"/>
                </a:ext>
              </a:extLst>
            </p:cNvPr>
            <p:cNvSpPr/>
            <p:nvPr/>
          </p:nvSpPr>
          <p:spPr bwMode="auto">
            <a:xfrm rot="1848714">
              <a:off x="1198061" y="2339981"/>
              <a:ext cx="1511381" cy="575070"/>
            </a:xfrm>
            <a:prstGeom prst="rightArrow">
              <a:avLst/>
            </a:prstGeom>
            <a:solidFill>
              <a:schemeClr val="accent3"/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en-US" sz="1799"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</p:grpSp>
      <p:sp>
        <p:nvSpPr>
          <p:cNvPr id="7" name="TextBox 6">
            <a:extLst>
              <a:ext uri="{FF2B5EF4-FFF2-40B4-BE49-F238E27FC236}">
                <a16:creationId xmlns:a16="http://schemas.microsoft.com/office/drawing/2014/main" id="{83FE6FD1-94C8-4E94-8A87-0C9AD27C33CE}"/>
              </a:ext>
            </a:extLst>
          </p:cNvPr>
          <p:cNvSpPr txBox="1"/>
          <p:nvPr/>
        </p:nvSpPr>
        <p:spPr>
          <a:xfrm>
            <a:off x="742950" y="1260232"/>
            <a:ext cx="3657600" cy="34163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>
                <a:hlinkClick r:id="rId5"/>
              </a:rPr>
              <a:t>https://energyai.siemens-energy.cloud/</a:t>
            </a:r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r>
              <a:rPr lang="en-US" dirty="0">
                <a:hlinkClick r:id="rId6"/>
              </a:rPr>
              <a:t>https://analyse.energyai.siemens-energy.cloud/</a:t>
            </a:r>
            <a:endParaRPr lang="en-US" dirty="0"/>
          </a:p>
          <a:p>
            <a:endParaRPr lang="en-US" dirty="0"/>
          </a:p>
          <a:p>
            <a:endParaRPr 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433019007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D5714BE3-ACD9-4112-A25E-55C81B124BF2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r="10759"/>
          <a:stretch/>
        </p:blipFill>
        <p:spPr>
          <a:xfrm>
            <a:off x="664118" y="1277470"/>
            <a:ext cx="10880182" cy="4303059"/>
          </a:xfrm>
          <a:prstGeom prst="rect">
            <a:avLst/>
          </a:prstGeom>
        </p:spPr>
      </p:pic>
      <p:sp>
        <p:nvSpPr>
          <p:cNvPr id="114690" name="cdtRectangle 2 Id114690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err="1"/>
              <a:t>Analyse</a:t>
            </a:r>
            <a:r>
              <a:rPr lang="en-US" noProof="0"/>
              <a:t> Layout</a:t>
            </a:r>
            <a:endParaRPr lang="en-US" noProof="0">
              <a:latin typeface="Arial" pitchFamily="34" charset="0"/>
            </a:endParaRPr>
          </a:p>
        </p:txBody>
      </p:sp>
      <p:sp>
        <p:nvSpPr>
          <p:cNvPr id="7" name="Textfeld 6"/>
          <p:cNvSpPr txBox="1"/>
          <p:nvPr/>
        </p:nvSpPr>
        <p:spPr>
          <a:xfrm>
            <a:off x="6439057" y="2853236"/>
            <a:ext cx="3507366" cy="323867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10000"/>
              </a:lnSpc>
            </a:pPr>
            <a:r>
              <a:rPr lang="en-US" sz="1599">
                <a:solidFill>
                  <a:srgbClr val="FF0000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Script-based (</a:t>
            </a:r>
            <a:r>
              <a:rPr lang="en-US" sz="1599" err="1">
                <a:solidFill>
                  <a:srgbClr val="FF0000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JupyterLab</a:t>
            </a:r>
            <a:r>
              <a:rPr lang="en-US" sz="1599">
                <a:solidFill>
                  <a:srgbClr val="FF0000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) </a:t>
            </a:r>
          </a:p>
        </p:txBody>
      </p:sp>
      <p:cxnSp>
        <p:nvCxnSpPr>
          <p:cNvPr id="6" name="Gerade Verbindung mit Pfeil 5"/>
          <p:cNvCxnSpPr/>
          <p:nvPr/>
        </p:nvCxnSpPr>
        <p:spPr bwMode="auto">
          <a:xfrm flipH="1">
            <a:off x="5793417" y="3003740"/>
            <a:ext cx="539779" cy="0"/>
          </a:xfrm>
          <a:prstGeom prst="straightConnector1">
            <a:avLst/>
          </a:prstGeom>
          <a:solidFill>
            <a:schemeClr val="tx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3" name="Textfeld 12"/>
          <p:cNvSpPr txBox="1"/>
          <p:nvPr/>
        </p:nvSpPr>
        <p:spPr>
          <a:xfrm>
            <a:off x="820993" y="2855362"/>
            <a:ext cx="1547366" cy="136744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110000"/>
              </a:lnSpc>
            </a:pPr>
            <a:r>
              <a:rPr lang="en-US" sz="1599">
                <a:solidFill>
                  <a:srgbClr val="FF0000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File System</a:t>
            </a:r>
          </a:p>
        </p:txBody>
      </p:sp>
      <p:cxnSp>
        <p:nvCxnSpPr>
          <p:cNvPr id="14" name="Gerade Verbindung mit Pfeil 13"/>
          <p:cNvCxnSpPr/>
          <p:nvPr/>
        </p:nvCxnSpPr>
        <p:spPr bwMode="auto">
          <a:xfrm flipH="1" flipV="1">
            <a:off x="820994" y="1739819"/>
            <a:ext cx="323867" cy="862599"/>
          </a:xfrm>
          <a:prstGeom prst="straightConnector1">
            <a:avLst/>
          </a:prstGeom>
          <a:solidFill>
            <a:schemeClr val="tx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0" name="Textfeld 9">
            <a:extLst>
              <a:ext uri="{FF2B5EF4-FFF2-40B4-BE49-F238E27FC236}">
                <a16:creationId xmlns:a16="http://schemas.microsoft.com/office/drawing/2014/main" id="{FD842BC7-120F-48F7-8CAA-D56EE9DD8200}"/>
              </a:ext>
            </a:extLst>
          </p:cNvPr>
          <p:cNvSpPr txBox="1"/>
          <p:nvPr/>
        </p:nvSpPr>
        <p:spPr>
          <a:xfrm>
            <a:off x="6490785" y="4075079"/>
            <a:ext cx="3507366" cy="323867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10000"/>
              </a:lnSpc>
            </a:pPr>
            <a:r>
              <a:rPr lang="en-US" sz="1599">
                <a:solidFill>
                  <a:srgbClr val="FF0000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Console-based </a:t>
            </a:r>
          </a:p>
        </p:txBody>
      </p:sp>
      <p:cxnSp>
        <p:nvCxnSpPr>
          <p:cNvPr id="11" name="Gerade Verbindung mit Pfeil 10">
            <a:extLst>
              <a:ext uri="{FF2B5EF4-FFF2-40B4-BE49-F238E27FC236}">
                <a16:creationId xmlns:a16="http://schemas.microsoft.com/office/drawing/2014/main" id="{4083F555-E526-4644-AE2D-76B3EF8069BA}"/>
              </a:ext>
            </a:extLst>
          </p:cNvPr>
          <p:cNvCxnSpPr/>
          <p:nvPr/>
        </p:nvCxnSpPr>
        <p:spPr bwMode="auto">
          <a:xfrm flipH="1">
            <a:off x="5845145" y="4225583"/>
            <a:ext cx="539779" cy="0"/>
          </a:xfrm>
          <a:prstGeom prst="straightConnector1">
            <a:avLst/>
          </a:prstGeom>
          <a:solidFill>
            <a:schemeClr val="tx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2" name="Textfeld 11">
            <a:extLst>
              <a:ext uri="{FF2B5EF4-FFF2-40B4-BE49-F238E27FC236}">
                <a16:creationId xmlns:a16="http://schemas.microsoft.com/office/drawing/2014/main" id="{37F575CB-1613-4204-B7E0-49B18CE8F0CD}"/>
              </a:ext>
            </a:extLst>
          </p:cNvPr>
          <p:cNvSpPr txBox="1"/>
          <p:nvPr/>
        </p:nvSpPr>
        <p:spPr>
          <a:xfrm>
            <a:off x="8684635" y="4116428"/>
            <a:ext cx="2197406" cy="323867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10000"/>
              </a:lnSpc>
            </a:pPr>
            <a:r>
              <a:rPr lang="en-US" sz="1599">
                <a:solidFill>
                  <a:srgbClr val="FF0000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more functionalities</a:t>
            </a:r>
          </a:p>
        </p:txBody>
      </p:sp>
      <p:cxnSp>
        <p:nvCxnSpPr>
          <p:cNvPr id="15" name="Gerade Verbindung mit Pfeil 14">
            <a:extLst>
              <a:ext uri="{FF2B5EF4-FFF2-40B4-BE49-F238E27FC236}">
                <a16:creationId xmlns:a16="http://schemas.microsoft.com/office/drawing/2014/main" id="{00D4BF4B-6BD8-480C-9448-41E1AA7D3C6D}"/>
              </a:ext>
            </a:extLst>
          </p:cNvPr>
          <p:cNvCxnSpPr>
            <a:cxnSpLocks/>
          </p:cNvCxnSpPr>
          <p:nvPr/>
        </p:nvCxnSpPr>
        <p:spPr bwMode="auto">
          <a:xfrm flipH="1">
            <a:off x="7715337" y="4266933"/>
            <a:ext cx="863436" cy="637463"/>
          </a:xfrm>
          <a:prstGeom prst="straightConnector1">
            <a:avLst/>
          </a:prstGeom>
          <a:solidFill>
            <a:schemeClr val="tx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</p:spTree>
    <p:custDataLst>
      <p:tags r:id="rId1"/>
    </p:custDataLst>
    <p:extLst>
      <p:ext uri="{BB962C8B-B14F-4D97-AF65-F5344CB8AC3E}">
        <p14:creationId xmlns:p14="http://schemas.microsoft.com/office/powerpoint/2010/main" val="290834508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4690" name="cdtRectangle 2 Id114690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First Steps – File System</a:t>
            </a:r>
            <a:endParaRPr lang="en-US" noProof="0">
              <a:latin typeface="Arial" pitchFamily="34" charset="0"/>
            </a:endParaRPr>
          </a:p>
        </p:txBody>
      </p:sp>
      <p:sp>
        <p:nvSpPr>
          <p:cNvPr id="8" name="cdtRectangle 3 Id114691"/>
          <p:cNvSpPr>
            <a:spLocks noGrp="1" noChangeArrowheads="1"/>
          </p:cNvSpPr>
          <p:nvPr>
            <p:ph idx="4294967295"/>
          </p:nvPr>
        </p:nvSpPr>
        <p:spPr>
          <a:xfrm>
            <a:off x="395617" y="1109830"/>
            <a:ext cx="5611813" cy="5281612"/>
          </a:xfrm>
        </p:spPr>
        <p:txBody>
          <a:bodyPr/>
          <a:lstStyle/>
          <a:p>
            <a:pPr marL="285607" indent="-285607">
              <a:buFont typeface="Arial" panose="020B0604020202020204" pitchFamily="34" charset="0"/>
              <a:buChar char="•"/>
            </a:pPr>
            <a:r>
              <a:rPr lang="en-US" sz="1599" noProof="0" dirty="0">
                <a:ea typeface="Arial Unicode MS" panose="020B0604020202020204" pitchFamily="34" charset="-128"/>
                <a:cs typeface="Arial Unicode MS" panose="020B0604020202020204" pitchFamily="34" charset="-128"/>
                <a:sym typeface="Wingdings" panose="05000000000000000000" pitchFamily="2" charset="2"/>
              </a:rPr>
              <a:t>Hierarchical File System as on Windows</a:t>
            </a:r>
          </a:p>
          <a:p>
            <a:endParaRPr lang="en-US" sz="1599" noProof="0" dirty="0">
              <a:ea typeface="Arial Unicode MS" panose="020B0604020202020204" pitchFamily="34" charset="-128"/>
              <a:cs typeface="Arial Unicode MS" panose="020B0604020202020204" pitchFamily="34" charset="-128"/>
              <a:sym typeface="Wingdings" panose="05000000000000000000" pitchFamily="2" charset="2"/>
            </a:endParaRPr>
          </a:p>
          <a:p>
            <a:pPr marL="285607" indent="-285607">
              <a:buFont typeface="Arial" panose="020B0604020202020204" pitchFamily="34" charset="0"/>
              <a:buChar char="•"/>
            </a:pPr>
            <a:r>
              <a:rPr lang="en-US" sz="1599" noProof="0" dirty="0">
                <a:ea typeface="Arial Unicode MS" panose="020B0604020202020204" pitchFamily="34" charset="-128"/>
                <a:cs typeface="Arial Unicode MS" panose="020B0604020202020204" pitchFamily="34" charset="-128"/>
                <a:sym typeface="Wingdings" panose="05000000000000000000" pitchFamily="2" charset="2"/>
              </a:rPr>
              <a:t>In ‘</a:t>
            </a:r>
            <a:r>
              <a:rPr lang="en-US" sz="1599" i="1" noProof="0" dirty="0">
                <a:ea typeface="Arial Unicode MS" panose="020B0604020202020204" pitchFamily="34" charset="-128"/>
                <a:cs typeface="Arial Unicode MS" panose="020B0604020202020204" pitchFamily="34" charset="-128"/>
                <a:sym typeface="Wingdings" panose="05000000000000000000" pitchFamily="2" charset="2"/>
              </a:rPr>
              <a:t>/shared/groups‘ </a:t>
            </a:r>
            <a:r>
              <a:rPr lang="en-US" sz="1599" noProof="0" dirty="0">
                <a:ea typeface="Arial Unicode MS" panose="020B0604020202020204" pitchFamily="34" charset="-128"/>
                <a:cs typeface="Arial Unicode MS" panose="020B0604020202020204" pitchFamily="34" charset="-128"/>
                <a:sym typeface="Wingdings" panose="05000000000000000000" pitchFamily="2" charset="2"/>
              </a:rPr>
              <a:t>, it can be worked in groups (group folder has to be requested)</a:t>
            </a:r>
          </a:p>
          <a:p>
            <a:pPr marL="285607" indent="-285607">
              <a:buFont typeface="Arial" panose="020B0604020202020204" pitchFamily="34" charset="0"/>
              <a:buChar char="•"/>
            </a:pPr>
            <a:endParaRPr lang="en-US" sz="1599" noProof="0" dirty="0">
              <a:ea typeface="Arial Unicode MS" panose="020B0604020202020204" pitchFamily="34" charset="-128"/>
              <a:cs typeface="Arial Unicode MS" panose="020B0604020202020204" pitchFamily="34" charset="-128"/>
              <a:sym typeface="Wingdings" panose="05000000000000000000" pitchFamily="2" charset="2"/>
            </a:endParaRPr>
          </a:p>
          <a:p>
            <a:pPr marL="285607" indent="-285607">
              <a:buFont typeface="Arial" panose="020B0604020202020204" pitchFamily="34" charset="0"/>
              <a:buChar char="•"/>
            </a:pPr>
            <a:r>
              <a:rPr lang="en-US" sz="1599" noProof="0" dirty="0">
                <a:ea typeface="Arial Unicode MS" panose="020B0604020202020204" pitchFamily="34" charset="-128"/>
                <a:cs typeface="Arial Unicode MS" panose="020B0604020202020204" pitchFamily="34" charset="-128"/>
                <a:sym typeface="Wingdings" panose="05000000000000000000" pitchFamily="2" charset="2"/>
              </a:rPr>
              <a:t>In ‘</a:t>
            </a:r>
            <a:r>
              <a:rPr lang="en-US" sz="1599" i="1" noProof="0" dirty="0">
                <a:ea typeface="Arial Unicode MS" panose="020B0604020202020204" pitchFamily="34" charset="-128"/>
                <a:cs typeface="Arial Unicode MS" panose="020B0604020202020204" pitchFamily="34" charset="-128"/>
                <a:sym typeface="Wingdings" panose="05000000000000000000" pitchFamily="2" charset="2"/>
              </a:rPr>
              <a:t>/shared/users‘ some </a:t>
            </a:r>
            <a:r>
              <a:rPr lang="en-US" sz="1599" noProof="0" dirty="0">
                <a:ea typeface="Arial Unicode MS" panose="020B0604020202020204" pitchFamily="34" charset="-128"/>
                <a:cs typeface="Arial Unicode MS" panose="020B0604020202020204" pitchFamily="34" charset="-128"/>
                <a:sym typeface="Wingdings" panose="05000000000000000000" pitchFamily="2" charset="2"/>
              </a:rPr>
              <a:t>scripts of other users are visible (copy script in your shared folder to make it visible for others)</a:t>
            </a:r>
          </a:p>
          <a:p>
            <a:pPr marL="285607" indent="-285607">
              <a:buFont typeface="Arial" panose="020B0604020202020204" pitchFamily="34" charset="0"/>
              <a:buChar char="•"/>
            </a:pPr>
            <a:endParaRPr lang="en-US" sz="1599" noProof="0" dirty="0">
              <a:ea typeface="Arial Unicode MS" panose="020B0604020202020204" pitchFamily="34" charset="-128"/>
              <a:cs typeface="Arial Unicode MS" panose="020B0604020202020204" pitchFamily="34" charset="-128"/>
              <a:sym typeface="Wingdings" panose="05000000000000000000" pitchFamily="2" charset="2"/>
            </a:endParaRPr>
          </a:p>
          <a:p>
            <a:pPr marL="285607" indent="-285607">
              <a:buFont typeface="Arial" panose="020B0604020202020204" pitchFamily="34" charset="0"/>
              <a:buChar char="•"/>
            </a:pPr>
            <a:r>
              <a:rPr lang="en-US" sz="1599" noProof="0" dirty="0">
                <a:ea typeface="Arial Unicode MS" panose="020B0604020202020204" pitchFamily="34" charset="-128"/>
                <a:cs typeface="Arial Unicode MS" panose="020B0604020202020204" pitchFamily="34" charset="-128"/>
                <a:sym typeface="Wingdings" panose="05000000000000000000" pitchFamily="2" charset="2"/>
              </a:rPr>
              <a:t>Go to: ‘</a:t>
            </a:r>
            <a:r>
              <a:rPr lang="en-US" sz="1599" i="1" noProof="0" dirty="0">
                <a:ea typeface="Arial Unicode MS" panose="020B0604020202020204" pitchFamily="34" charset="-128"/>
                <a:cs typeface="Arial Unicode MS" panose="020B0604020202020204" pitchFamily="34" charset="-128"/>
                <a:sym typeface="Wingdings" panose="05000000000000000000" pitchFamily="2" charset="2"/>
              </a:rPr>
              <a:t>/shared/demos‘ </a:t>
            </a:r>
            <a:r>
              <a:rPr lang="en-US" sz="1599" noProof="0" dirty="0">
                <a:ea typeface="Arial Unicode MS" panose="020B0604020202020204" pitchFamily="34" charset="-128"/>
                <a:cs typeface="Arial Unicode MS" panose="020B0604020202020204" pitchFamily="34" charset="-128"/>
                <a:sym typeface="Wingdings" panose="05000000000000000000" pitchFamily="2" charset="2"/>
              </a:rPr>
              <a:t>for several demos on the usage of the datahub with R or Python</a:t>
            </a:r>
          </a:p>
          <a:p>
            <a:pPr marL="285607" indent="-285607">
              <a:buFont typeface="Arial" panose="020B0604020202020204" pitchFamily="34" charset="0"/>
              <a:buChar char="•"/>
            </a:pPr>
            <a:endParaRPr lang="en-US" sz="1599" noProof="0" dirty="0">
              <a:ea typeface="Arial Unicode MS" panose="020B0604020202020204" pitchFamily="34" charset="-128"/>
              <a:cs typeface="Arial Unicode MS" panose="020B0604020202020204" pitchFamily="34" charset="-128"/>
              <a:sym typeface="Wingdings" panose="05000000000000000000" pitchFamily="2" charset="2"/>
            </a:endParaRPr>
          </a:p>
          <a:p>
            <a:pPr marL="285607" indent="-285607">
              <a:buFont typeface="Arial" panose="020B0604020202020204" pitchFamily="34" charset="0"/>
              <a:buChar char="•"/>
            </a:pPr>
            <a:r>
              <a:rPr lang="en-US" sz="1599" noProof="0" dirty="0">
                <a:ea typeface="Arial Unicode MS" panose="020B0604020202020204" pitchFamily="34" charset="-128"/>
                <a:cs typeface="Arial Unicode MS" panose="020B0604020202020204" pitchFamily="34" charset="-128"/>
                <a:sym typeface="Wingdings" panose="05000000000000000000" pitchFamily="2" charset="2"/>
              </a:rPr>
              <a:t>Go to: ‘</a:t>
            </a:r>
            <a:r>
              <a:rPr lang="en-US" sz="1599" i="1" noProof="0" dirty="0">
                <a:ea typeface="Arial Unicode MS" panose="020B0604020202020204" pitchFamily="34" charset="-128"/>
                <a:cs typeface="Arial Unicode MS" panose="020B0604020202020204" pitchFamily="34" charset="-128"/>
                <a:sym typeface="Wingdings" panose="05000000000000000000" pitchFamily="2" charset="2"/>
              </a:rPr>
              <a:t>/shared/spaces/</a:t>
            </a:r>
            <a:r>
              <a:rPr lang="en-US" sz="1599" i="1" noProof="0" dirty="0" err="1">
                <a:ea typeface="Arial Unicode MS" panose="020B0604020202020204" pitchFamily="34" charset="-128"/>
                <a:cs typeface="Arial Unicode MS" panose="020B0604020202020204" pitchFamily="34" charset="-128"/>
                <a:sym typeface="Wingdings" panose="05000000000000000000" pitchFamily="2" charset="2"/>
              </a:rPr>
              <a:t>CommunityCodeShare</a:t>
            </a:r>
            <a:r>
              <a:rPr lang="en-US" sz="1599" i="1" noProof="0" dirty="0">
                <a:ea typeface="Arial Unicode MS" panose="020B0604020202020204" pitchFamily="34" charset="-128"/>
                <a:cs typeface="Arial Unicode MS" panose="020B0604020202020204" pitchFamily="34" charset="-128"/>
                <a:sym typeface="Wingdings" panose="05000000000000000000" pitchFamily="2" charset="2"/>
              </a:rPr>
              <a:t>‘ </a:t>
            </a:r>
            <a:r>
              <a:rPr lang="en-US" sz="1599" noProof="0" dirty="0">
                <a:ea typeface="Arial Unicode MS" panose="020B0604020202020204" pitchFamily="34" charset="-128"/>
                <a:cs typeface="Arial Unicode MS" panose="020B0604020202020204" pitchFamily="34" charset="-128"/>
                <a:sym typeface="Wingdings" panose="05000000000000000000" pitchFamily="2" charset="2"/>
              </a:rPr>
              <a:t>for </a:t>
            </a:r>
            <a:r>
              <a:rPr lang="en-US" sz="1599" noProof="0" dirty="0" err="1">
                <a:ea typeface="Arial Unicode MS" panose="020B0604020202020204" pitchFamily="34" charset="-128"/>
                <a:cs typeface="Arial Unicode MS" panose="020B0604020202020204" pitchFamily="34" charset="-128"/>
                <a:sym typeface="Wingdings" panose="05000000000000000000" pitchFamily="2" charset="2"/>
              </a:rPr>
              <a:t>EnergyAI</a:t>
            </a:r>
            <a:r>
              <a:rPr lang="en-US" sz="1599" noProof="0" dirty="0">
                <a:ea typeface="Arial Unicode MS" panose="020B0604020202020204" pitchFamily="34" charset="-128"/>
                <a:cs typeface="Arial Unicode MS" panose="020B0604020202020204" pitchFamily="34" charset="-128"/>
                <a:sym typeface="Wingdings" panose="05000000000000000000" pitchFamily="2" charset="2"/>
              </a:rPr>
              <a:t> </a:t>
            </a:r>
            <a:r>
              <a:rPr lang="en-US" sz="1599" noProof="0" dirty="0" err="1">
                <a:ea typeface="Arial Unicode MS" panose="020B0604020202020204" pitchFamily="34" charset="-128"/>
                <a:cs typeface="Arial Unicode MS" panose="020B0604020202020204" pitchFamily="34" charset="-128"/>
                <a:sym typeface="Wingdings" panose="05000000000000000000" pitchFamily="2" charset="2"/>
              </a:rPr>
              <a:t>CodeShare</a:t>
            </a:r>
            <a:r>
              <a:rPr lang="en-US" sz="1599" noProof="0" dirty="0">
                <a:ea typeface="Arial Unicode MS" panose="020B0604020202020204" pitchFamily="34" charset="-128"/>
                <a:cs typeface="Arial Unicode MS" panose="020B0604020202020204" pitchFamily="34" charset="-128"/>
                <a:sym typeface="Wingdings" panose="05000000000000000000" pitchFamily="2" charset="2"/>
              </a:rPr>
              <a:t> projects</a:t>
            </a:r>
            <a:endParaRPr lang="en-US" sz="1599" dirty="0">
              <a:ea typeface="Arial Unicode MS" panose="020B0604020202020204" pitchFamily="34" charset="-128"/>
              <a:cs typeface="Arial Unicode MS" panose="020B0604020202020204" pitchFamily="34" charset="-128"/>
              <a:sym typeface="Wingdings" panose="05000000000000000000" pitchFamily="2" charset="2"/>
            </a:endParaRPr>
          </a:p>
          <a:p>
            <a:pPr marL="285607" indent="-285607">
              <a:buFont typeface="Arial" panose="020B0604020202020204" pitchFamily="34" charset="0"/>
              <a:buChar char="•"/>
            </a:pPr>
            <a:endParaRPr lang="en-US" sz="1599" noProof="0" dirty="0">
              <a:ea typeface="Arial Unicode MS" panose="020B0604020202020204" pitchFamily="34" charset="-128"/>
              <a:cs typeface="Arial Unicode MS" panose="020B0604020202020204" pitchFamily="34" charset="-128"/>
              <a:sym typeface="Wingdings" panose="05000000000000000000" pitchFamily="2" charset="2"/>
            </a:endParaRPr>
          </a:p>
          <a:p>
            <a:pPr marL="285607" indent="-285607">
              <a:buFont typeface="Arial" panose="020B0604020202020204" pitchFamily="34" charset="0"/>
              <a:buChar char="•"/>
            </a:pPr>
            <a:r>
              <a:rPr lang="en-US" sz="1599" noProof="0" dirty="0">
                <a:ea typeface="Arial Unicode MS" panose="020B0604020202020204" pitchFamily="34" charset="-128"/>
                <a:cs typeface="Arial Unicode MS" panose="020B0604020202020204" pitchFamily="34" charset="-128"/>
                <a:sym typeface="Wingdings" panose="05000000000000000000" pitchFamily="2" charset="2"/>
              </a:rPr>
              <a:t>Repositories from GitHub can be embedded in folders to simultaneously work on scripts (recommended)</a:t>
            </a:r>
          </a:p>
          <a:p>
            <a:endParaRPr lang="en-US" sz="1599" noProof="0" dirty="0">
              <a:ea typeface="Arial Unicode MS" panose="020B0604020202020204" pitchFamily="34" charset="-128"/>
              <a:cs typeface="Arial Unicode MS" panose="020B0604020202020204" pitchFamily="34" charset="-128"/>
              <a:sym typeface="Wingdings" panose="05000000000000000000" pitchFamily="2" charset="2"/>
            </a:endParaRPr>
          </a:p>
          <a:p>
            <a:endParaRPr lang="en-US" sz="1599" noProof="0" dirty="0">
              <a:ea typeface="Arial Unicode MS" panose="020B0604020202020204" pitchFamily="34" charset="-128"/>
              <a:cs typeface="Arial Unicode MS" panose="020B0604020202020204" pitchFamily="34" charset="-128"/>
              <a:sym typeface="Wingdings" panose="05000000000000000000" pitchFamily="2" charset="2"/>
            </a:endParaRPr>
          </a:p>
          <a:p>
            <a:pPr marL="285607" indent="-285607">
              <a:buFont typeface="Arial" panose="020B0604020202020204" pitchFamily="34" charset="0"/>
              <a:buChar char="•"/>
            </a:pPr>
            <a:endParaRPr lang="en-US" sz="1599" i="1" noProof="0" dirty="0">
              <a:ea typeface="Arial Unicode MS" panose="020B0604020202020204" pitchFamily="34" charset="-128"/>
              <a:cs typeface="Arial Unicode MS" panose="020B0604020202020204" pitchFamily="34" charset="-128"/>
              <a:sym typeface="Wingdings" panose="05000000000000000000" pitchFamily="2" charset="2"/>
            </a:endParaRPr>
          </a:p>
          <a:p>
            <a:pPr marL="285607" indent="-285607">
              <a:buFont typeface="Arial" panose="020B0604020202020204" pitchFamily="34" charset="0"/>
              <a:buChar char="•"/>
            </a:pPr>
            <a:endParaRPr lang="en-US" sz="1599" i="1" noProof="0" dirty="0">
              <a:ea typeface="Arial Unicode MS" panose="020B0604020202020204" pitchFamily="34" charset="-128"/>
              <a:cs typeface="Arial Unicode MS" panose="020B0604020202020204" pitchFamily="34" charset="-128"/>
              <a:sym typeface="Wingdings" panose="05000000000000000000" pitchFamily="2" charset="2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00DA4A53-49E3-4D10-A6D9-ECB02C79A27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360686" y="1219200"/>
            <a:ext cx="5108521" cy="4419600"/>
          </a:xfrm>
          <a:prstGeom prst="rect">
            <a:avLst/>
          </a:prstGeom>
          <a:ln w="38100" cap="sq">
            <a:solidFill>
              <a:srgbClr val="7030A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  <p:sp>
        <p:nvSpPr>
          <p:cNvPr id="9" name="Oval 8">
            <a:extLst>
              <a:ext uri="{FF2B5EF4-FFF2-40B4-BE49-F238E27FC236}">
                <a16:creationId xmlns:a16="http://schemas.microsoft.com/office/drawing/2014/main" id="{CB970B81-8CFE-4DFD-AD85-DC8B69D50D40}"/>
              </a:ext>
            </a:extLst>
          </p:cNvPr>
          <p:cNvSpPr/>
          <p:nvPr/>
        </p:nvSpPr>
        <p:spPr>
          <a:xfrm>
            <a:off x="6465887" y="1914525"/>
            <a:ext cx="1296988" cy="400050"/>
          </a:xfrm>
          <a:prstGeom prst="ellipse">
            <a:avLst/>
          </a:prstGeom>
          <a:noFill/>
          <a:ln w="254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FB176031-97BC-4F3C-8999-0400333BAEE8}"/>
              </a:ext>
            </a:extLst>
          </p:cNvPr>
          <p:cNvSpPr/>
          <p:nvPr/>
        </p:nvSpPr>
        <p:spPr>
          <a:xfrm>
            <a:off x="10704512" y="5057774"/>
            <a:ext cx="886506" cy="676275"/>
          </a:xfrm>
          <a:prstGeom prst="ellipse">
            <a:avLst/>
          </a:prstGeom>
          <a:noFill/>
          <a:ln w="254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4F10AFA8-BF12-4389-9D95-978537CBD717}"/>
              </a:ext>
            </a:extLst>
          </p:cNvPr>
          <p:cNvSpPr txBox="1"/>
          <p:nvPr/>
        </p:nvSpPr>
        <p:spPr>
          <a:xfrm>
            <a:off x="9818958" y="3219449"/>
            <a:ext cx="1906317" cy="860899"/>
          </a:xfrm>
          <a:prstGeom prst="rect">
            <a:avLst/>
          </a:prstGeom>
          <a:solidFill>
            <a:srgbClr val="FFFF00"/>
          </a:solidFill>
        </p:spPr>
        <p:txBody>
          <a:bodyPr wrap="square" lIns="0" tIns="0" rIns="0" bIns="0" rtlCol="0">
            <a:noAutofit/>
          </a:bodyPr>
          <a:lstStyle/>
          <a:p>
            <a:pPr algn="l"/>
            <a:r>
              <a:rPr lang="en-US"/>
              <a:t>Single Click on:</a:t>
            </a:r>
          </a:p>
          <a:p>
            <a:pPr algn="l"/>
            <a:r>
              <a:rPr lang="en-US"/>
              <a:t>Show Contextual Help</a:t>
            </a:r>
          </a:p>
          <a:p>
            <a:pPr marL="342900" indent="-342900">
              <a:buAutoNum type="arabicParenR"/>
            </a:pPr>
            <a:endParaRPr lang="en-US"/>
          </a:p>
        </p:txBody>
      </p:sp>
      <p:cxnSp>
        <p:nvCxnSpPr>
          <p:cNvPr id="13" name="Gerade Verbindung mit Pfeil 14">
            <a:extLst>
              <a:ext uri="{FF2B5EF4-FFF2-40B4-BE49-F238E27FC236}">
                <a16:creationId xmlns:a16="http://schemas.microsoft.com/office/drawing/2014/main" id="{B19B55D8-E111-4FFB-BE71-BF12C121CE52}"/>
              </a:ext>
            </a:extLst>
          </p:cNvPr>
          <p:cNvCxnSpPr>
            <a:cxnSpLocks/>
            <a:stCxn id="12" idx="2"/>
          </p:cNvCxnSpPr>
          <p:nvPr/>
        </p:nvCxnSpPr>
        <p:spPr bwMode="auto">
          <a:xfrm>
            <a:off x="10772117" y="4080348"/>
            <a:ext cx="191158" cy="977426"/>
          </a:xfrm>
          <a:prstGeom prst="straightConnector1">
            <a:avLst/>
          </a:prstGeom>
          <a:solidFill>
            <a:schemeClr val="tx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7" name="TextBox 16">
            <a:extLst>
              <a:ext uri="{FF2B5EF4-FFF2-40B4-BE49-F238E27FC236}">
                <a16:creationId xmlns:a16="http://schemas.microsoft.com/office/drawing/2014/main" id="{63857CC6-0CCC-4B5A-BB41-1238DF7BF07F}"/>
              </a:ext>
            </a:extLst>
          </p:cNvPr>
          <p:cNvSpPr txBox="1"/>
          <p:nvPr/>
        </p:nvSpPr>
        <p:spPr>
          <a:xfrm>
            <a:off x="9914537" y="1931750"/>
            <a:ext cx="1906317" cy="860899"/>
          </a:xfrm>
          <a:prstGeom prst="rect">
            <a:avLst/>
          </a:prstGeom>
          <a:solidFill>
            <a:srgbClr val="FFFF00"/>
          </a:solidFill>
        </p:spPr>
        <p:txBody>
          <a:bodyPr wrap="square" lIns="0" tIns="0" rIns="0" bIns="0" rtlCol="0">
            <a:noAutofit/>
          </a:bodyPr>
          <a:lstStyle/>
          <a:p>
            <a:pPr algn="l"/>
            <a:r>
              <a:rPr lang="en-US"/>
              <a:t>Single Click:</a:t>
            </a:r>
          </a:p>
          <a:p>
            <a:r>
              <a:rPr lang="en-US"/>
              <a:t>File system icon to navigate the tree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ACABBD45-C3EB-4D79-B392-EFBD60112641}"/>
              </a:ext>
            </a:extLst>
          </p:cNvPr>
          <p:cNvSpPr txBox="1"/>
          <p:nvPr/>
        </p:nvSpPr>
        <p:spPr>
          <a:xfrm>
            <a:off x="6484010" y="3750636"/>
            <a:ext cx="1469365" cy="1116639"/>
          </a:xfrm>
          <a:prstGeom prst="rect">
            <a:avLst/>
          </a:prstGeom>
          <a:solidFill>
            <a:srgbClr val="FFFF00"/>
          </a:solidFill>
        </p:spPr>
        <p:txBody>
          <a:bodyPr wrap="square" lIns="0" tIns="0" rIns="0" bIns="0" rtlCol="0">
            <a:noAutofit/>
          </a:bodyPr>
          <a:lstStyle/>
          <a:p>
            <a:pPr algn="l"/>
            <a:r>
              <a:rPr lang="en-US"/>
              <a:t>Double Click:</a:t>
            </a:r>
          </a:p>
          <a:p>
            <a:r>
              <a:rPr lang="en-US"/>
              <a:t>Folders/Files to open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256DE36C-AB6C-4F0A-8D9C-20AAA6928AC8}"/>
              </a:ext>
            </a:extLst>
          </p:cNvPr>
          <p:cNvSpPr/>
          <p:nvPr/>
        </p:nvSpPr>
        <p:spPr>
          <a:xfrm>
            <a:off x="6484010" y="2362199"/>
            <a:ext cx="1469365" cy="952501"/>
          </a:xfrm>
          <a:prstGeom prst="rect">
            <a:avLst/>
          </a:prstGeom>
          <a:noFill/>
          <a:ln w="254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cxnSp>
        <p:nvCxnSpPr>
          <p:cNvPr id="21" name="Gerade Verbindung mit Pfeil 14">
            <a:extLst>
              <a:ext uri="{FF2B5EF4-FFF2-40B4-BE49-F238E27FC236}">
                <a16:creationId xmlns:a16="http://schemas.microsoft.com/office/drawing/2014/main" id="{9C2D059A-CAAF-48A8-AA73-ED8222906568}"/>
              </a:ext>
            </a:extLst>
          </p:cNvPr>
          <p:cNvCxnSpPr>
            <a:cxnSpLocks/>
            <a:endCxn id="9" idx="6"/>
          </p:cNvCxnSpPr>
          <p:nvPr/>
        </p:nvCxnSpPr>
        <p:spPr bwMode="auto">
          <a:xfrm flipH="1" flipV="1">
            <a:off x="7762875" y="2114550"/>
            <a:ext cx="2151662" cy="200025"/>
          </a:xfrm>
          <a:prstGeom prst="straightConnector1">
            <a:avLst/>
          </a:prstGeom>
          <a:solidFill>
            <a:schemeClr val="tx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4" name="Gerade Verbindung mit Pfeil 14">
            <a:extLst>
              <a:ext uri="{FF2B5EF4-FFF2-40B4-BE49-F238E27FC236}">
                <a16:creationId xmlns:a16="http://schemas.microsoft.com/office/drawing/2014/main" id="{E30B77E7-D555-4649-8C57-BCD4BC57B76C}"/>
              </a:ext>
            </a:extLst>
          </p:cNvPr>
          <p:cNvCxnSpPr>
            <a:cxnSpLocks/>
            <a:stCxn id="18" idx="0"/>
          </p:cNvCxnSpPr>
          <p:nvPr/>
        </p:nvCxnSpPr>
        <p:spPr bwMode="auto">
          <a:xfrm flipH="1" flipV="1">
            <a:off x="7180593" y="2514600"/>
            <a:ext cx="38100" cy="1236036"/>
          </a:xfrm>
          <a:prstGeom prst="straightConnector1">
            <a:avLst/>
          </a:prstGeom>
          <a:solidFill>
            <a:schemeClr val="tx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</p:spTree>
    <p:custDataLst>
      <p:tags r:id="rId1"/>
    </p:custDataLst>
    <p:extLst>
      <p:ext uri="{BB962C8B-B14F-4D97-AF65-F5344CB8AC3E}">
        <p14:creationId xmlns:p14="http://schemas.microsoft.com/office/powerpoint/2010/main" val="123960607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E536143-FFB5-4C5C-8AA9-BB34BFBE6474}"/>
              </a:ext>
            </a:extLst>
          </p:cNvPr>
          <p:cNvSpPr>
            <a:spLocks noGrp="1"/>
          </p:cNvSpPr>
          <p:nvPr>
            <p:ph type="title"/>
          </p:nvPr>
        </p:nvSpPr>
        <p:spPr>
          <a:noFill/>
        </p:spPr>
        <p:txBody>
          <a:bodyPr/>
          <a:lstStyle/>
          <a:p>
            <a:r>
              <a:rPr lang="en-US" dirty="0"/>
              <a:t>This training was developed for you by </a:t>
            </a:r>
            <a:br>
              <a:rPr lang="en-US" dirty="0"/>
            </a:br>
            <a:r>
              <a:rPr lang="en-US" dirty="0"/>
              <a:t>Data Science @ </a:t>
            </a:r>
            <a:r>
              <a:rPr lang="pt-BR" dirty="0"/>
              <a:t>SE GP G QPI QM P </a:t>
            </a:r>
            <a:r>
              <a:rPr lang="en-US" dirty="0"/>
              <a:t>Improvement Projects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0063950F-84E4-494D-A975-91DD1B18FE34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473568" y="1414463"/>
            <a:ext cx="6784482" cy="4752975"/>
          </a:xfrm>
        </p:spPr>
        <p:txBody>
          <a:bodyPr/>
          <a:lstStyle/>
          <a:p>
            <a:pPr>
              <a:lnSpc>
                <a:spcPct val="130000"/>
              </a:lnSpc>
              <a:tabLst>
                <a:tab pos="982663" algn="l"/>
              </a:tabLst>
            </a:pPr>
            <a:r>
              <a:rPr lang="en-US" sz="1600" b="1" dirty="0">
                <a:latin typeface="+mj-lt"/>
              </a:rPr>
              <a:t>We help your employees getting the skills for the digital future</a:t>
            </a:r>
            <a:r>
              <a:rPr lang="en-US" sz="1400" b="1" dirty="0">
                <a:latin typeface="+mj-lt"/>
              </a:rPr>
              <a:t>:</a:t>
            </a:r>
          </a:p>
          <a:p>
            <a:pPr lvl="1" fontAlgn="base">
              <a:lnSpc>
                <a:spcPct val="130000"/>
              </a:lnSpc>
            </a:pPr>
            <a:r>
              <a:rPr lang="en-US" sz="1400" dirty="0">
                <a:solidFill>
                  <a:srgbClr val="1B1534"/>
                </a:solidFill>
                <a:latin typeface="+mj-lt"/>
              </a:rPr>
              <a:t>Global Data Science Skill Network (with Matt Bryan, LGT R&amp;D)</a:t>
            </a:r>
          </a:p>
          <a:p>
            <a:pPr lvl="1" fontAlgn="base">
              <a:lnSpc>
                <a:spcPct val="130000"/>
              </a:lnSpc>
            </a:pPr>
            <a:r>
              <a:rPr lang="en-US" sz="1400" b="0" i="0" u="none" strike="noStrike" dirty="0">
                <a:solidFill>
                  <a:srgbClr val="1B1534"/>
                </a:solidFill>
                <a:effectLst/>
                <a:latin typeface="+mj-lt"/>
              </a:rPr>
              <a:t>Data Science and Machine Learning trainings (with several partners):</a:t>
            </a:r>
          </a:p>
          <a:p>
            <a:pPr lvl="4" fontAlgn="base">
              <a:lnSpc>
                <a:spcPct val="130000"/>
              </a:lnSpc>
              <a:buFont typeface="Courier New" panose="02070309020205020404" pitchFamily="49" charset="0"/>
              <a:buChar char="o"/>
            </a:pPr>
            <a:r>
              <a:rPr lang="en-US" sz="1400" dirty="0">
                <a:solidFill>
                  <a:srgbClr val="1B1534"/>
                </a:solidFill>
                <a:latin typeface="+mj-lt"/>
              </a:rPr>
              <a:t>Currently 11 trainings developed and executed</a:t>
            </a:r>
          </a:p>
          <a:p>
            <a:pPr lvl="4" fontAlgn="base">
              <a:lnSpc>
                <a:spcPct val="130000"/>
              </a:lnSpc>
              <a:buFont typeface="Courier New" panose="02070309020205020404" pitchFamily="49" charset="0"/>
              <a:buChar char="o"/>
            </a:pPr>
            <a:r>
              <a:rPr lang="en-US" sz="1400" dirty="0">
                <a:solidFill>
                  <a:srgbClr val="1B1534"/>
                </a:solidFill>
                <a:latin typeface="+mj-lt"/>
              </a:rPr>
              <a:t>Attended by &gt;</a:t>
            </a:r>
            <a:r>
              <a:rPr lang="en-US" sz="1400" b="0" i="0" u="none" strike="noStrike" dirty="0">
                <a:solidFill>
                  <a:srgbClr val="1B1534"/>
                </a:solidFill>
                <a:effectLst/>
                <a:latin typeface="+mj-lt"/>
              </a:rPr>
              <a:t>500 participants mostly from R&amp;D</a:t>
            </a:r>
          </a:p>
          <a:p>
            <a:pPr lvl="1" fontAlgn="base">
              <a:lnSpc>
                <a:spcPct val="130000"/>
              </a:lnSpc>
            </a:pPr>
            <a:r>
              <a:rPr lang="en-US" sz="1400" dirty="0">
                <a:solidFill>
                  <a:srgbClr val="1B1534"/>
                </a:solidFill>
                <a:latin typeface="+mj-lt"/>
              </a:rPr>
              <a:t>Analytic services in specific improvement projects</a:t>
            </a:r>
          </a:p>
          <a:p>
            <a:pPr lvl="1" fontAlgn="base">
              <a:lnSpc>
                <a:spcPct val="130000"/>
              </a:lnSpc>
            </a:pPr>
            <a:r>
              <a:rPr lang="en-US" sz="1400" b="0" i="0" u="none" strike="noStrike" dirty="0">
                <a:solidFill>
                  <a:srgbClr val="1B1534"/>
                </a:solidFill>
                <a:effectLst/>
                <a:latin typeface="+mj-lt"/>
              </a:rPr>
              <a:t>EAI CodeShare (with Thomas Buller, LGN R&amp;D)</a:t>
            </a:r>
          </a:p>
          <a:p>
            <a:pPr algn="l" rtl="0" fontAlgn="base"/>
            <a:endParaRPr lang="en-US" sz="1400" b="0" i="0" u="none" strike="noStrike" dirty="0">
              <a:solidFill>
                <a:srgbClr val="1B1534"/>
              </a:solidFill>
              <a:effectLst/>
              <a:latin typeface="+mj-lt"/>
            </a:endParaRPr>
          </a:p>
        </p:txBody>
      </p:sp>
      <p:cxnSp>
        <p:nvCxnSpPr>
          <p:cNvPr id="18" name="Gerader Verbinder 17">
            <a:extLst>
              <a:ext uri="{FF2B5EF4-FFF2-40B4-BE49-F238E27FC236}">
                <a16:creationId xmlns:a16="http://schemas.microsoft.com/office/drawing/2014/main" id="{AFCCE862-ADBD-45AA-AA4B-28833831406E}"/>
              </a:ext>
            </a:extLst>
          </p:cNvPr>
          <p:cNvCxnSpPr>
            <a:cxnSpLocks/>
          </p:cNvCxnSpPr>
          <p:nvPr/>
        </p:nvCxnSpPr>
        <p:spPr>
          <a:xfrm flipV="1">
            <a:off x="5358063" y="1973179"/>
            <a:ext cx="2213810" cy="1620253"/>
          </a:xfrm>
          <a:prstGeom prst="line">
            <a:avLst/>
          </a:prstGeom>
          <a:ln w="19050">
            <a:solidFill>
              <a:schemeClr val="accent2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1" name="Gerader Verbinder 40">
            <a:extLst>
              <a:ext uri="{FF2B5EF4-FFF2-40B4-BE49-F238E27FC236}">
                <a16:creationId xmlns:a16="http://schemas.microsoft.com/office/drawing/2014/main" id="{85716A3A-F6BC-4765-A4E7-5FDF727423B6}"/>
              </a:ext>
            </a:extLst>
          </p:cNvPr>
          <p:cNvCxnSpPr>
            <a:cxnSpLocks/>
          </p:cNvCxnSpPr>
          <p:nvPr/>
        </p:nvCxnSpPr>
        <p:spPr>
          <a:xfrm>
            <a:off x="5358063" y="5454238"/>
            <a:ext cx="2213810" cy="117637"/>
          </a:xfrm>
          <a:prstGeom prst="line">
            <a:avLst/>
          </a:prstGeom>
          <a:ln w="19050">
            <a:solidFill>
              <a:schemeClr val="accent2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14" name="Grafik 13">
            <a:extLst>
              <a:ext uri="{FF2B5EF4-FFF2-40B4-BE49-F238E27FC236}">
                <a16:creationId xmlns:a16="http://schemas.microsoft.com/office/drawing/2014/main" id="{25905CB5-9181-419B-A6F5-1F91E606362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611604" y="1368971"/>
            <a:ext cx="3154953" cy="3416188"/>
          </a:xfrm>
          <a:prstGeom prst="rect">
            <a:avLst/>
          </a:prstGeom>
        </p:spPr>
      </p:pic>
      <p:sp>
        <p:nvSpPr>
          <p:cNvPr id="38" name="Rechteck 37">
            <a:extLst>
              <a:ext uri="{FF2B5EF4-FFF2-40B4-BE49-F238E27FC236}">
                <a16:creationId xmlns:a16="http://schemas.microsoft.com/office/drawing/2014/main" id="{6E2EDE2A-EB6B-4F7A-9AAF-2935413D037A}"/>
              </a:ext>
            </a:extLst>
          </p:cNvPr>
          <p:cNvSpPr/>
          <p:nvPr/>
        </p:nvSpPr>
        <p:spPr>
          <a:xfrm>
            <a:off x="8563478" y="1414462"/>
            <a:ext cx="3138911" cy="4272741"/>
          </a:xfrm>
          <a:prstGeom prst="rect">
            <a:avLst/>
          </a:prstGeom>
          <a:noFill/>
          <a:ln w="2857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pic>
        <p:nvPicPr>
          <p:cNvPr id="52" name="Grafik 51">
            <a:extLst>
              <a:ext uri="{FF2B5EF4-FFF2-40B4-BE49-F238E27FC236}">
                <a16:creationId xmlns:a16="http://schemas.microsoft.com/office/drawing/2014/main" id="{1DFAF13D-A661-452F-966D-6E1C381DF1F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765825" y="4558572"/>
            <a:ext cx="2649314" cy="1013303"/>
          </a:xfrm>
          <a:prstGeom prst="rect">
            <a:avLst/>
          </a:prstGeom>
        </p:spPr>
      </p:pic>
      <p:sp>
        <p:nvSpPr>
          <p:cNvPr id="72" name="Textfeld 71">
            <a:extLst>
              <a:ext uri="{FF2B5EF4-FFF2-40B4-BE49-F238E27FC236}">
                <a16:creationId xmlns:a16="http://schemas.microsoft.com/office/drawing/2014/main" id="{4B49CF37-D738-45E7-B3F0-F6BA22408519}"/>
              </a:ext>
            </a:extLst>
          </p:cNvPr>
          <p:cNvSpPr txBox="1"/>
          <p:nvPr/>
        </p:nvSpPr>
        <p:spPr>
          <a:xfrm>
            <a:off x="627063" y="5817870"/>
            <a:ext cx="11091369" cy="468833"/>
          </a:xfrm>
          <a:prstGeom prst="rect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defPPr>
              <a:defRPr lang="de-DE"/>
            </a:defPPr>
            <a:lvl1pPr algn="ctr"/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en-US">
                <a:solidFill>
                  <a:schemeClr val="tx1"/>
                </a:solidFill>
              </a:rPr>
              <a:t>We help building the bridge between Data Science and daily engineering business.</a:t>
            </a:r>
          </a:p>
        </p:txBody>
      </p:sp>
      <p:grpSp>
        <p:nvGrpSpPr>
          <p:cNvPr id="4" name="Gruppieren 3">
            <a:extLst>
              <a:ext uri="{FF2B5EF4-FFF2-40B4-BE49-F238E27FC236}">
                <a16:creationId xmlns:a16="http://schemas.microsoft.com/office/drawing/2014/main" id="{30EEF414-5134-4423-8D59-A2E5689299DA}"/>
              </a:ext>
            </a:extLst>
          </p:cNvPr>
          <p:cNvGrpSpPr/>
          <p:nvPr/>
        </p:nvGrpSpPr>
        <p:grpSpPr>
          <a:xfrm>
            <a:off x="600816" y="3724550"/>
            <a:ext cx="5663626" cy="1521218"/>
            <a:chOff x="600816" y="3724550"/>
            <a:chExt cx="3905680" cy="1060609"/>
          </a:xfrm>
        </p:grpSpPr>
        <p:sp>
          <p:nvSpPr>
            <p:cNvPr id="15" name="Rechteck 14">
              <a:extLst>
                <a:ext uri="{FF2B5EF4-FFF2-40B4-BE49-F238E27FC236}">
                  <a16:creationId xmlns:a16="http://schemas.microsoft.com/office/drawing/2014/main" id="{96852413-5167-4D6A-90DB-678BF1242108}"/>
                </a:ext>
              </a:extLst>
            </p:cNvPr>
            <p:cNvSpPr/>
            <p:nvPr/>
          </p:nvSpPr>
          <p:spPr>
            <a:xfrm>
              <a:off x="600816" y="3724550"/>
              <a:ext cx="3905680" cy="1060609"/>
            </a:xfrm>
            <a:prstGeom prst="rect">
              <a:avLst/>
            </a:prstGeom>
            <a:noFill/>
            <a:ln w="28575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>
              <a:normAutofit/>
            </a:bodyPr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11" name="Rechteck 10">
              <a:extLst>
                <a:ext uri="{FF2B5EF4-FFF2-40B4-BE49-F238E27FC236}">
                  <a16:creationId xmlns:a16="http://schemas.microsoft.com/office/drawing/2014/main" id="{DB7C11EB-BAAC-4140-8C89-FC891AA3E844}"/>
                </a:ext>
              </a:extLst>
            </p:cNvPr>
            <p:cNvSpPr/>
            <p:nvPr/>
          </p:nvSpPr>
          <p:spPr>
            <a:xfrm>
              <a:off x="696651" y="3802344"/>
              <a:ext cx="3694438" cy="221412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>
              <a:normAutofit/>
            </a:bodyPr>
            <a:lstStyle/>
            <a:p>
              <a:pPr algn="ctr"/>
              <a:r>
                <a:rPr lang="en-US" sz="1200" dirty="0">
                  <a:solidFill>
                    <a:schemeClr val="bg1"/>
                  </a:solidFill>
                </a:rPr>
                <a:t>Data Science Lead Developers @ QPI QM P:</a:t>
              </a:r>
            </a:p>
          </p:txBody>
        </p:sp>
        <p:grpSp>
          <p:nvGrpSpPr>
            <p:cNvPr id="49" name="Gruppieren 48">
              <a:extLst>
                <a:ext uri="{FF2B5EF4-FFF2-40B4-BE49-F238E27FC236}">
                  <a16:creationId xmlns:a16="http://schemas.microsoft.com/office/drawing/2014/main" id="{F7538848-CF07-4ACB-82F7-EB92A94A6681}"/>
                </a:ext>
              </a:extLst>
            </p:cNvPr>
            <p:cNvGrpSpPr/>
            <p:nvPr/>
          </p:nvGrpSpPr>
          <p:grpSpPr>
            <a:xfrm>
              <a:off x="696651" y="4122261"/>
              <a:ext cx="1977506" cy="559503"/>
              <a:chOff x="844336" y="4568734"/>
              <a:chExt cx="2463941" cy="694781"/>
            </a:xfrm>
          </p:grpSpPr>
          <p:sp>
            <p:nvSpPr>
              <p:cNvPr id="58" name="Rectangle 21">
                <a:extLst>
                  <a:ext uri="{FF2B5EF4-FFF2-40B4-BE49-F238E27FC236}">
                    <a16:creationId xmlns:a16="http://schemas.microsoft.com/office/drawing/2014/main" id="{0799D796-0251-43D7-B0D9-1363DCA1941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44336" y="4568734"/>
                <a:ext cx="2102733" cy="694781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tIns="71963" bIns="71963" anchor="ctr">
                <a:normAutofit/>
              </a:bodyPr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>
                  <a:lnSpc>
                    <a:spcPct val="100000"/>
                  </a:lnSpc>
                  <a:buFontTx/>
                  <a:buNone/>
                </a:pPr>
                <a:endParaRPr lang="en-US" altLang="de-DE" sz="1199" b="1"/>
              </a:p>
            </p:txBody>
          </p:sp>
          <p:sp>
            <p:nvSpPr>
              <p:cNvPr id="26" name="Rectangle 21">
                <a:extLst>
                  <a:ext uri="{FF2B5EF4-FFF2-40B4-BE49-F238E27FC236}">
                    <a16:creationId xmlns:a16="http://schemas.microsoft.com/office/drawing/2014/main" id="{6A648F65-CDC6-42F4-BB61-7F60F7A2FFD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29981" y="4587573"/>
                <a:ext cx="1878296" cy="553613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lIns="0" tIns="0" rIns="0" bIns="0" anchor="ctr">
                <a:noAutofit/>
              </a:bodyPr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>
                  <a:lnSpc>
                    <a:spcPct val="100000"/>
                  </a:lnSpc>
                  <a:buFontTx/>
                  <a:buNone/>
                </a:pPr>
                <a:r>
                  <a:rPr lang="en-US" altLang="de-DE" sz="1000" b="1" dirty="0"/>
                  <a:t>Matthias Groh</a:t>
                </a:r>
                <a:br>
                  <a:rPr lang="en-US" altLang="de-DE" sz="1000" b="1" dirty="0"/>
                </a:br>
                <a:r>
                  <a:rPr lang="en-US" altLang="de-DE" sz="1000" dirty="0"/>
                  <a:t>Six Sigma Master Black Belt</a:t>
                </a:r>
              </a:p>
              <a:p>
                <a:pPr>
                  <a:lnSpc>
                    <a:spcPct val="100000"/>
                  </a:lnSpc>
                  <a:buFontTx/>
                  <a:buNone/>
                </a:pPr>
                <a:r>
                  <a:rPr lang="de-DE" altLang="de-DE" sz="1000" dirty="0"/>
                  <a:t>Data Science Consultant</a:t>
                </a:r>
                <a:endParaRPr lang="en-US" altLang="de-DE" sz="1000" dirty="0"/>
              </a:p>
            </p:txBody>
          </p:sp>
          <p:pic>
            <p:nvPicPr>
              <p:cNvPr id="28" name="Grafik 27">
                <a:extLst>
                  <a:ext uri="{FF2B5EF4-FFF2-40B4-BE49-F238E27FC236}">
                    <a16:creationId xmlns:a16="http://schemas.microsoft.com/office/drawing/2014/main" id="{9766FA50-ED48-4EB9-A8E7-0F7F9770B75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926129" y="4658191"/>
                <a:ext cx="413758" cy="534799"/>
              </a:xfrm>
              <a:prstGeom prst="rect">
                <a:avLst/>
              </a:prstGeom>
            </p:spPr>
          </p:pic>
        </p:grpSp>
        <p:grpSp>
          <p:nvGrpSpPr>
            <p:cNvPr id="50" name="Gruppieren 49">
              <a:extLst>
                <a:ext uri="{FF2B5EF4-FFF2-40B4-BE49-F238E27FC236}">
                  <a16:creationId xmlns:a16="http://schemas.microsoft.com/office/drawing/2014/main" id="{E8F2FC75-61D0-4B80-8BFF-D7D98B20C3FC}"/>
                </a:ext>
              </a:extLst>
            </p:cNvPr>
            <p:cNvGrpSpPr/>
            <p:nvPr/>
          </p:nvGrpSpPr>
          <p:grpSpPr>
            <a:xfrm>
              <a:off x="2705734" y="4129884"/>
              <a:ext cx="1773472" cy="559503"/>
              <a:chOff x="3157270" y="4578201"/>
              <a:chExt cx="2209718" cy="694781"/>
            </a:xfrm>
          </p:grpSpPr>
          <p:sp>
            <p:nvSpPr>
              <p:cNvPr id="57" name="Rectangle 21">
                <a:extLst>
                  <a:ext uri="{FF2B5EF4-FFF2-40B4-BE49-F238E27FC236}">
                    <a16:creationId xmlns:a16="http://schemas.microsoft.com/office/drawing/2014/main" id="{E328D9E2-5C7C-45D0-8472-4487B02EBD2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157270" y="4578201"/>
                <a:ext cx="2099925" cy="694781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tIns="71963" bIns="71963" anchor="ctr">
                <a:normAutofit/>
              </a:bodyPr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>
                  <a:lnSpc>
                    <a:spcPct val="100000"/>
                  </a:lnSpc>
                  <a:buFontTx/>
                  <a:buNone/>
                </a:pPr>
                <a:endParaRPr lang="en-US" altLang="de-DE" sz="1199" b="1"/>
              </a:p>
            </p:txBody>
          </p:sp>
          <p:sp>
            <p:nvSpPr>
              <p:cNvPr id="33" name="Rectangle 21">
                <a:extLst>
                  <a:ext uri="{FF2B5EF4-FFF2-40B4-BE49-F238E27FC236}">
                    <a16:creationId xmlns:a16="http://schemas.microsoft.com/office/drawing/2014/main" id="{C1B6AE3B-6257-4C68-8FD9-C686BD7FC8B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708055" y="4679027"/>
                <a:ext cx="1658933" cy="589965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lIns="0" tIns="0" rIns="0" bIns="36000" anchor="t" anchorCtr="0">
                <a:noAutofit/>
              </a:bodyPr>
              <a:lstStyle>
                <a:lvl1pPr algn="l" eaLnBrk="0" hangingPunct="0">
                  <a:lnSpc>
                    <a:spcPts val="2400"/>
                  </a:lnSpc>
                  <a:buFont typeface="Wingdings" pitchFamily="2" charset="2"/>
                  <a:defRPr sz="2000">
                    <a:solidFill>
                      <a:schemeClr val="tx1"/>
                    </a:solidFill>
                    <a:latin typeface="Arial" charset="0"/>
                  </a:defRPr>
                </a:lvl1pPr>
                <a:lvl2pPr marL="742950" indent="-285750" algn="l" eaLnBrk="0" hangingPunct="0">
                  <a:lnSpc>
                    <a:spcPts val="2400"/>
                  </a:lnSpc>
                  <a:buClr>
                    <a:schemeClr val="tx2"/>
                  </a:buClr>
                  <a:buFont typeface="Wingdings" pitchFamily="2" charset="2"/>
                  <a:buChar char="§"/>
                  <a:defRPr sz="2000">
                    <a:solidFill>
                      <a:schemeClr val="tx1"/>
                    </a:solidFill>
                    <a:latin typeface="Arial" charset="0"/>
                  </a:defRPr>
                </a:lvl2pPr>
                <a:lvl3pPr marL="1143000" indent="-228600" algn="l" eaLnBrk="0" hangingPunct="0">
                  <a:lnSpc>
                    <a:spcPts val="2400"/>
                  </a:lnSpc>
                  <a:buClr>
                    <a:schemeClr val="tx2"/>
                  </a:buClr>
                  <a:buFont typeface="Wingdings" pitchFamily="2" charset="2"/>
                  <a:buChar char="§"/>
                  <a:defRPr sz="2000">
                    <a:solidFill>
                      <a:schemeClr val="tx1"/>
                    </a:solidFill>
                    <a:latin typeface="Arial" charset="0"/>
                  </a:defRPr>
                </a:lvl3pPr>
                <a:lvl4pPr marL="1600200" indent="-228600" algn="l" eaLnBrk="0" hangingPunct="0">
                  <a:lnSpc>
                    <a:spcPts val="2400"/>
                  </a:lnSpc>
                  <a:buClr>
                    <a:schemeClr val="tx2"/>
                  </a:buClr>
                  <a:buFont typeface="Wingdings" pitchFamily="2" charset="2"/>
                  <a:buChar char="§"/>
                  <a:defRPr sz="2000">
                    <a:solidFill>
                      <a:schemeClr val="tx1"/>
                    </a:solidFill>
                    <a:latin typeface="Arial" charset="0"/>
                  </a:defRPr>
                </a:lvl4pPr>
                <a:lvl5pPr marL="2057400" indent="-228600" algn="l" eaLnBrk="0" hangingPunct="0">
                  <a:lnSpc>
                    <a:spcPts val="2400"/>
                  </a:lnSpc>
                  <a:buClr>
                    <a:schemeClr val="tx2"/>
                  </a:buClr>
                  <a:buFont typeface="Wingdings" pitchFamily="2" charset="2"/>
                  <a:buChar char="§"/>
                  <a:defRPr sz="2000">
                    <a:solidFill>
                      <a:schemeClr val="tx1"/>
                    </a:solidFill>
                    <a:latin typeface="Arial" charset="0"/>
                  </a:defRPr>
                </a:lvl5pPr>
                <a:lvl6pPr marL="2514600" indent="-228600" eaLnBrk="0" fontAlgn="base" hangingPunct="0">
                  <a:lnSpc>
                    <a:spcPts val="24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Font typeface="Wingdings" pitchFamily="2" charset="2"/>
                  <a:buChar char="§"/>
                  <a:defRPr sz="2000">
                    <a:solidFill>
                      <a:schemeClr val="tx1"/>
                    </a:solidFill>
                    <a:latin typeface="Arial" charset="0"/>
                  </a:defRPr>
                </a:lvl6pPr>
                <a:lvl7pPr marL="2971800" indent="-228600" eaLnBrk="0" fontAlgn="base" hangingPunct="0">
                  <a:lnSpc>
                    <a:spcPts val="24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Font typeface="Wingdings" pitchFamily="2" charset="2"/>
                  <a:buChar char="§"/>
                  <a:defRPr sz="2000">
                    <a:solidFill>
                      <a:schemeClr val="tx1"/>
                    </a:solidFill>
                    <a:latin typeface="Arial" charset="0"/>
                  </a:defRPr>
                </a:lvl7pPr>
                <a:lvl8pPr marL="3429000" indent="-228600" eaLnBrk="0" fontAlgn="base" hangingPunct="0">
                  <a:lnSpc>
                    <a:spcPts val="24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Font typeface="Wingdings" pitchFamily="2" charset="2"/>
                  <a:buChar char="§"/>
                  <a:defRPr sz="2000">
                    <a:solidFill>
                      <a:schemeClr val="tx1"/>
                    </a:solidFill>
                    <a:latin typeface="Arial" charset="0"/>
                  </a:defRPr>
                </a:lvl8pPr>
                <a:lvl9pPr marL="3886200" indent="-228600" eaLnBrk="0" fontAlgn="base" hangingPunct="0">
                  <a:lnSpc>
                    <a:spcPts val="24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Font typeface="Wingdings" pitchFamily="2" charset="2"/>
                  <a:buChar char="§"/>
                  <a:defRPr sz="2000">
                    <a:solidFill>
                      <a:schemeClr val="tx1"/>
                    </a:solidFill>
                    <a:latin typeface="Arial" charset="0"/>
                  </a:defRPr>
                </a:lvl9pPr>
              </a:lstStyle>
              <a:p>
                <a:pPr>
                  <a:lnSpc>
                    <a:spcPct val="100000"/>
                  </a:lnSpc>
                </a:pPr>
                <a:r>
                  <a:rPr lang="en-US" altLang="de-DE" sz="1000" b="1" dirty="0"/>
                  <a:t>Tim Mazzotta</a:t>
                </a:r>
                <a:br>
                  <a:rPr lang="en-US" altLang="de-DE" sz="1000" b="1" dirty="0"/>
                </a:br>
                <a:r>
                  <a:rPr lang="en-US" altLang="de-DE" sz="1000" dirty="0"/>
                  <a:t>Advisory Expert</a:t>
                </a:r>
                <a:br>
                  <a:rPr lang="en-US" altLang="de-DE" sz="1000" dirty="0"/>
                </a:br>
                <a:r>
                  <a:rPr lang="de-DE" altLang="de-DE" sz="1000" dirty="0"/>
                  <a:t>Data Science Expert</a:t>
                </a:r>
                <a:endParaRPr lang="en-US" altLang="de-DE" sz="1000" dirty="0"/>
              </a:p>
            </p:txBody>
          </p:sp>
        </p:grpSp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80F2B14B-B10D-484F-982A-47E1B04934EF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/>
            <a:srcRect t="9437"/>
            <a:stretch/>
          </p:blipFill>
          <p:spPr>
            <a:xfrm>
              <a:off x="2780559" y="4189573"/>
              <a:ext cx="319381" cy="42976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77612989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AF2898E-9D0A-4F9E-B273-6673704FAD4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How This Training Works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24CE9D69-D6B0-4824-A6E4-E95FE89F0A0C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26737" y="1441036"/>
            <a:ext cx="6440865" cy="4749526"/>
          </a:xfrm>
        </p:spPr>
        <p:txBody>
          <a:bodyPr/>
          <a:lstStyle/>
          <a:p>
            <a:pPr marL="285607" indent="-285607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/>
              <a:t>Experiment, we are all learning</a:t>
            </a:r>
          </a:p>
          <a:p>
            <a:pPr marL="285607" indent="-285607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/>
              <a:t>DS0-&gt; DS1-&gt;DS2-&gt;DS3 are </a:t>
            </a:r>
            <a:r>
              <a:rPr lang="en-US" sz="1600" dirty="0" err="1"/>
              <a:t>prerequisits</a:t>
            </a:r>
            <a:r>
              <a:rPr lang="en-US" sz="1600" dirty="0"/>
              <a:t> (enough to read through scripts)</a:t>
            </a:r>
          </a:p>
          <a:p>
            <a:pPr marL="285607" indent="-285607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/>
              <a:t>New For DS2: "Transforming Data“ = free chapter 1 of "Data Manipulation with Pandas“ </a:t>
            </a:r>
            <a:r>
              <a:rPr lang="en-US" sz="900" dirty="0"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learn.datacamp.com/courses/data-manipulation-with-pandas</a:t>
            </a:r>
            <a:r>
              <a:rPr lang="en-US" sz="900" dirty="0"/>
              <a:t>  </a:t>
            </a:r>
          </a:p>
          <a:p>
            <a:pPr marL="285607" indent="-285607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en-US" sz="1600" dirty="0"/>
              <a:t>1x15 Min Break in each 2h block</a:t>
            </a:r>
          </a:p>
          <a:p>
            <a:pPr marL="285607" indent="-285607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/>
              <a:t>Recording: high demand, few training seats</a:t>
            </a:r>
          </a:p>
          <a:p>
            <a:pPr marL="285607" indent="-285607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/>
              <a:t>Based on interaction</a:t>
            </a:r>
          </a:p>
          <a:p>
            <a:pPr marL="644203" lvl="2" indent="-285607">
              <a:lnSpc>
                <a:spcPct val="150000"/>
              </a:lnSpc>
              <a:buFont typeface="Courier New" panose="02070309020205020404" pitchFamily="49" charset="0"/>
              <a:buChar char="o"/>
            </a:pPr>
            <a:r>
              <a:rPr lang="en-US" sz="1600" dirty="0"/>
              <a:t>Discussions, Exercises + Debriefs</a:t>
            </a:r>
          </a:p>
          <a:p>
            <a:pPr marL="644203" lvl="2" indent="-285607">
              <a:lnSpc>
                <a:spcPct val="150000"/>
              </a:lnSpc>
              <a:buFont typeface="Courier New" panose="02070309020205020404" pitchFamily="49" charset="0"/>
              <a:buChar char="o"/>
            </a:pPr>
            <a:r>
              <a:rPr lang="en-US" sz="1600" dirty="0"/>
              <a:t>Harder in Teams</a:t>
            </a:r>
          </a:p>
          <a:p>
            <a:pPr marL="644203" lvl="2" indent="-285607">
              <a:lnSpc>
                <a:spcPct val="150000"/>
              </a:lnSpc>
              <a:buFont typeface="Courier New" panose="02070309020205020404" pitchFamily="49" charset="0"/>
              <a:buChar char="o"/>
            </a:pPr>
            <a:r>
              <a:rPr lang="en-US" sz="1600" dirty="0"/>
              <a:t>If I should not call on you, please tell us now</a:t>
            </a:r>
          </a:p>
          <a:p>
            <a:endParaRPr lang="en-US" dirty="0"/>
          </a:p>
        </p:txBody>
      </p:sp>
      <p:pic>
        <p:nvPicPr>
          <p:cNvPr id="6" name="Picture 8" descr="17947_dpi150">
            <a:extLst>
              <a:ext uri="{FF2B5EF4-FFF2-40B4-BE49-F238E27FC236}">
                <a16:creationId xmlns:a16="http://schemas.microsoft.com/office/drawing/2014/main" id="{4DEC0B93-4D94-4398-84D2-E081E03745F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0380" r="30165" b="14589"/>
          <a:stretch>
            <a:fillRect/>
          </a:stretch>
        </p:blipFill>
        <p:spPr bwMode="auto">
          <a:xfrm>
            <a:off x="7375689" y="1436064"/>
            <a:ext cx="4333850" cy="356766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64260394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F902235-65DE-4DB3-A3B4-BF90C7E8AB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Introductio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A06020A3-D824-4A51-B6CA-D5E51EB9BDF0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445830" y="1414801"/>
            <a:ext cx="7304088" cy="4752975"/>
          </a:xfrm>
        </p:spPr>
        <p:txBody>
          <a:bodyPr/>
          <a:lstStyle/>
          <a:p>
            <a:pPr marL="342729" indent="-342729">
              <a:lnSpc>
                <a:spcPct val="150000"/>
              </a:lnSpc>
              <a:buFont typeface="+mj-lt"/>
              <a:buAutoNum type="arabicPeriod"/>
            </a:pPr>
            <a:r>
              <a:rPr lang="en-US" sz="1599" noProof="0" dirty="0"/>
              <a:t>Name, Department</a:t>
            </a:r>
          </a:p>
          <a:p>
            <a:pPr marL="342729" indent="-342729">
              <a:lnSpc>
                <a:spcPct val="200000"/>
              </a:lnSpc>
              <a:buFont typeface="+mj-lt"/>
              <a:buAutoNum type="arabicPeriod"/>
            </a:pPr>
            <a:r>
              <a:rPr lang="en-US" sz="1599" noProof="0" dirty="0"/>
              <a:t>All prerequisites fulfilled? EnergyAI, knowledge of previous trainings (DS0-&gt;DS1-&gt;DS2-&gt;DS3)</a:t>
            </a:r>
          </a:p>
          <a:p>
            <a:pPr marL="342729" indent="-342729">
              <a:lnSpc>
                <a:spcPct val="200000"/>
              </a:lnSpc>
              <a:buFont typeface="+mj-lt"/>
              <a:buAutoNum type="arabicPeriod"/>
            </a:pPr>
            <a:r>
              <a:rPr lang="en-US" sz="1599" noProof="0" dirty="0"/>
              <a:t>Preexisting knowledge program, </a:t>
            </a:r>
            <a:r>
              <a:rPr lang="en-US" sz="1599" dirty="0"/>
              <a:t>data science, </a:t>
            </a:r>
            <a:r>
              <a:rPr lang="en-US" sz="1599" noProof="0" dirty="0"/>
              <a:t>statistics, Python, R, …</a:t>
            </a:r>
          </a:p>
          <a:p>
            <a:pPr marL="342729" indent="-342729">
              <a:lnSpc>
                <a:spcPct val="200000"/>
              </a:lnSpc>
              <a:buFont typeface="+mj-lt"/>
              <a:buAutoNum type="arabicPeriod"/>
            </a:pPr>
            <a:r>
              <a:rPr lang="en-US" sz="1599" noProof="0" dirty="0"/>
              <a:t>Expectations</a:t>
            </a:r>
          </a:p>
        </p:txBody>
      </p:sp>
    </p:spTree>
    <p:extLst>
      <p:ext uri="{BB962C8B-B14F-4D97-AF65-F5344CB8AC3E}">
        <p14:creationId xmlns:p14="http://schemas.microsoft.com/office/powerpoint/2010/main" val="2694384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F469ADF-86A2-4CF2-9342-2ACBFEF20117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DE" dirty="0"/>
              <a:t>The </a:t>
            </a:r>
            <a:r>
              <a:rPr lang="de-DE" dirty="0" err="1"/>
              <a:t>training</a:t>
            </a:r>
            <a:endParaRPr lang="de-DE" dirty="0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BB304250-495F-4FF4-9C0C-A1F75A96ACE4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82833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34F73D1-B121-4F18-8EB1-EEAE79E1639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Goal Data Science Workshops: Basic understanding how to use Python and EnergyAI to access power plant data</a:t>
            </a:r>
          </a:p>
        </p:txBody>
      </p:sp>
      <p:graphicFrame>
        <p:nvGraphicFramePr>
          <p:cNvPr id="4" name="Inhaltsplatzhalter 3">
            <a:extLst>
              <a:ext uri="{FF2B5EF4-FFF2-40B4-BE49-F238E27FC236}">
                <a16:creationId xmlns:a16="http://schemas.microsoft.com/office/drawing/2014/main" id="{2073493E-1A5A-4F63-B63F-87AE2BF4D868}"/>
              </a:ext>
            </a:extLst>
          </p:cNvPr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2819439660"/>
              </p:ext>
            </p:extLst>
          </p:nvPr>
        </p:nvGraphicFramePr>
        <p:xfrm>
          <a:off x="584199" y="1246188"/>
          <a:ext cx="10955338" cy="501386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51142">
                  <a:extLst>
                    <a:ext uri="{9D8B030D-6E8A-4147-A177-3AD203B41FA5}">
                      <a16:colId xmlns:a16="http://schemas.microsoft.com/office/drawing/2014/main" val="2323007199"/>
                    </a:ext>
                  </a:extLst>
                </a:gridCol>
                <a:gridCol w="2946367">
                  <a:extLst>
                    <a:ext uri="{9D8B030D-6E8A-4147-A177-3AD203B41FA5}">
                      <a16:colId xmlns:a16="http://schemas.microsoft.com/office/drawing/2014/main" val="695213836"/>
                    </a:ext>
                  </a:extLst>
                </a:gridCol>
                <a:gridCol w="3749040">
                  <a:extLst>
                    <a:ext uri="{9D8B030D-6E8A-4147-A177-3AD203B41FA5}">
                      <a16:colId xmlns:a16="http://schemas.microsoft.com/office/drawing/2014/main" val="3968369725"/>
                    </a:ext>
                  </a:extLst>
                </a:gridCol>
                <a:gridCol w="3008789">
                  <a:extLst>
                    <a:ext uri="{9D8B030D-6E8A-4147-A177-3AD203B41FA5}">
                      <a16:colId xmlns:a16="http://schemas.microsoft.com/office/drawing/2014/main" val="1796851101"/>
                    </a:ext>
                  </a:extLst>
                </a:gridCol>
              </a:tblGrid>
              <a:tr h="517890">
                <a:tc>
                  <a:txBody>
                    <a:bodyPr/>
                    <a:lstStyle/>
                    <a:p>
                      <a:r>
                        <a:rPr lang="en-US" sz="1400" dirty="0"/>
                        <a:t>Workshop Module</a:t>
                      </a:r>
                    </a:p>
                  </a:txBody>
                  <a:tcPr marL="91392" marR="91392" marT="45696" marB="45696"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Agenda</a:t>
                      </a:r>
                    </a:p>
                  </a:txBody>
                  <a:tcPr marL="91392" marR="91392" marT="45696" marB="45696"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Goals</a:t>
                      </a:r>
                    </a:p>
                  </a:txBody>
                  <a:tcPr marL="91392" marR="91392" marT="45696" marB="45696"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Our approach to teaching: </a:t>
                      </a:r>
                    </a:p>
                  </a:txBody>
                  <a:tcPr marL="91392" marR="91392" marT="45696" marB="45696"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31829546"/>
                  </a:ext>
                </a:extLst>
              </a:tr>
              <a:tr h="122772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b="1"/>
                        <a:t>DS 1 Python Basics</a:t>
                      </a:r>
                      <a:endParaRPr lang="en-US" sz="1400" b="1"/>
                    </a:p>
                  </a:txBody>
                  <a:tcPr marL="91392" marR="91392" marT="45696" marB="45696"/>
                </a:tc>
                <a:tc>
                  <a:txBody>
                    <a:bodyPr/>
                    <a:lstStyle/>
                    <a:p>
                      <a:pPr marL="179388" indent="-179388">
                        <a:buFont typeface="Arial" panose="020B0604020202020204" pitchFamily="34" charset="0"/>
                        <a:buChar char="•"/>
                      </a:pPr>
                      <a:r>
                        <a:rPr lang="en-US" sz="1200" kern="120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Jupyter Notebook Intro</a:t>
                      </a:r>
                    </a:p>
                    <a:p>
                      <a:pPr marL="179388" indent="-179388">
                        <a:buFont typeface="Arial" panose="020B0604020202020204" pitchFamily="34" charset="0"/>
                        <a:buChar char="•"/>
                      </a:pPr>
                      <a:r>
                        <a:rPr lang="en-US" sz="1200" kern="120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Lists, Object Localization</a:t>
                      </a:r>
                    </a:p>
                    <a:p>
                      <a:pPr marL="179388" indent="-179388">
                        <a:buFont typeface="Arial" panose="020B0604020202020204" pitchFamily="34" charset="0"/>
                        <a:buChar char="•"/>
                      </a:pPr>
                      <a:r>
                        <a:rPr lang="en-US" sz="1200" kern="120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Loops, Dictionaries, If</a:t>
                      </a:r>
                    </a:p>
                    <a:p>
                      <a:pPr marL="179388" indent="-179388">
                        <a:buFont typeface="Arial" panose="020B0604020202020204" pitchFamily="34" charset="0"/>
                        <a:buChar char="•"/>
                      </a:pPr>
                      <a:r>
                        <a:rPr lang="en-US" sz="1200" kern="120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Definitions</a:t>
                      </a:r>
                    </a:p>
                    <a:p>
                      <a:pPr marL="180975" indent="-180975">
                        <a:buFont typeface="Arial" panose="020B0604020202020204" pitchFamily="34" charset="0"/>
                        <a:buChar char="•"/>
                      </a:pPr>
                      <a:r>
                        <a:rPr lang="en-US" sz="1200" kern="120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Classes/ Objects/ Methods</a:t>
                      </a:r>
                    </a:p>
                    <a:p>
                      <a:pPr marL="180975" indent="-180975">
                        <a:buFont typeface="Arial" panose="020B0604020202020204" pitchFamily="34" charset="0"/>
                        <a:buChar char="•"/>
                      </a:pPr>
                      <a:r>
                        <a:rPr lang="en-US" sz="1200" kern="120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Intro to NumPy/ ND-Arrays</a:t>
                      </a:r>
                      <a:endParaRPr lang="en-US" sz="120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392" marR="91392" marT="45696" marB="45696"/>
                </a:tc>
                <a:tc rowSpan="3">
                  <a:txBody>
                    <a:bodyPr/>
                    <a:lstStyle/>
                    <a:p>
                      <a:pPr marL="0" indent="0">
                        <a:lnSpc>
                          <a:spcPct val="100000"/>
                        </a:lnSpc>
                        <a:spcAft>
                          <a:spcPts val="6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n-US" sz="1200" b="1" i="0" kern="1200" dirty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Target audience (all modules):</a:t>
                      </a:r>
                    </a:p>
                    <a:p>
                      <a:pPr marL="179388" indent="-179388">
                        <a:lnSpc>
                          <a:spcPct val="100000"/>
                        </a:lnSpc>
                        <a:spcAft>
                          <a:spcPts val="6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200" i="0" kern="1200" dirty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Any engineer who needs to analyze big data</a:t>
                      </a:r>
                    </a:p>
                    <a:p>
                      <a:pPr marL="179388" indent="-179388">
                        <a:lnSpc>
                          <a:spcPct val="100000"/>
                        </a:lnSpc>
                        <a:spcAft>
                          <a:spcPts val="6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200" i="0" kern="1200" dirty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In particular engineers verifying assumptions with power plant data</a:t>
                      </a:r>
                    </a:p>
                    <a:p>
                      <a:pPr marL="0" indent="0">
                        <a:lnSpc>
                          <a:spcPct val="100000"/>
                        </a:lnSpc>
                        <a:spcAft>
                          <a:spcPts val="600"/>
                        </a:spcAft>
                        <a:buFont typeface="Arial" panose="020B0604020202020204" pitchFamily="34" charset="0"/>
                        <a:buNone/>
                      </a:pPr>
                      <a:endParaRPr lang="en-US" sz="1200" b="1" i="0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  <a:p>
                      <a:pPr marL="0" indent="0">
                        <a:lnSpc>
                          <a:spcPct val="100000"/>
                        </a:lnSpc>
                        <a:spcAft>
                          <a:spcPts val="6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n-US" sz="1200" b="1" i="0" kern="1200" dirty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Prerequisites: </a:t>
                      </a:r>
                    </a:p>
                    <a:p>
                      <a:pPr marL="179388" indent="-179388">
                        <a:lnSpc>
                          <a:spcPct val="100000"/>
                        </a:lnSpc>
                        <a:spcAft>
                          <a:spcPts val="6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200" i="0" kern="1200" dirty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Basic programming knowledge or DS0</a:t>
                      </a:r>
                    </a:p>
                    <a:p>
                      <a:pPr marL="179388" indent="-179388">
                        <a:lnSpc>
                          <a:spcPct val="100000"/>
                        </a:lnSpc>
                        <a:spcAft>
                          <a:spcPts val="6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200" i="0" kern="1200" dirty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DS1 for DS2, DS2 for DS3 or reading through the scripts</a:t>
                      </a:r>
                    </a:p>
                    <a:p>
                      <a:pPr marL="179388" indent="-179388">
                        <a:lnSpc>
                          <a:spcPct val="100000"/>
                        </a:lnSpc>
                        <a:spcAft>
                          <a:spcPts val="6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200" i="0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New For DS2: "Transforming Data“ = free chapter 1 of "Data Manipulation with Pandas" </a:t>
                      </a:r>
                      <a:r>
                        <a:rPr lang="en-US" sz="800" i="0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hlinkClick r:id="rId3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https://learn.datacamp.com/courses/data-manipulation-with-pandas</a:t>
                      </a:r>
                      <a:r>
                        <a:rPr lang="en-US" sz="800" i="0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</a:p>
                    <a:p>
                      <a:pPr marL="179388" indent="-179388">
                        <a:lnSpc>
                          <a:spcPct val="100000"/>
                        </a:lnSpc>
                        <a:spcAft>
                          <a:spcPts val="600"/>
                        </a:spcAft>
                        <a:buFont typeface="Arial" panose="020B0604020202020204" pitchFamily="34" charset="0"/>
                        <a:buChar char="•"/>
                      </a:pPr>
                      <a:endParaRPr lang="en-US" sz="1200" i="0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  <a:p>
                      <a:pPr marL="0" indent="0">
                        <a:lnSpc>
                          <a:spcPct val="100000"/>
                        </a:lnSpc>
                        <a:spcAft>
                          <a:spcPts val="6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n-US" sz="1200" b="1" i="0" kern="1200" dirty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Teaching goals (all modules):</a:t>
                      </a:r>
                    </a:p>
                    <a:p>
                      <a:pPr marL="179388" indent="-179388">
                        <a:lnSpc>
                          <a:spcPct val="100000"/>
                        </a:lnSpc>
                        <a:spcAft>
                          <a:spcPts val="6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200" b="0" i="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First steps to learn the topic is taken.</a:t>
                      </a:r>
                    </a:p>
                    <a:p>
                      <a:pPr marL="179388" indent="-179388">
                        <a:lnSpc>
                          <a:spcPct val="100000"/>
                        </a:lnSpc>
                        <a:spcAft>
                          <a:spcPts val="6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200" b="0" i="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Basic concepts are understood -&gt;just enough to keep learning from online sources.</a:t>
                      </a:r>
                    </a:p>
                    <a:p>
                      <a:pPr marL="179388" indent="-179388">
                        <a:lnSpc>
                          <a:spcPct val="100000"/>
                        </a:lnSpc>
                        <a:spcAft>
                          <a:spcPts val="6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200" b="0" i="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Everybody learns in the workshop, also trainers.</a:t>
                      </a:r>
                    </a:p>
                    <a:p>
                      <a:pPr marL="179388" indent="-179388">
                        <a:lnSpc>
                          <a:spcPct val="100000"/>
                        </a:lnSpc>
                        <a:spcAft>
                          <a:spcPts val="6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200" b="0" i="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This is a teaching “Minimal Viable Product”</a:t>
                      </a:r>
                    </a:p>
                  </a:txBody>
                  <a:tcPr marL="91392" marR="91392" marT="45696" marB="45696"/>
                </a:tc>
                <a:tc rowSpan="3">
                  <a:txBody>
                    <a:bodyPr/>
                    <a:lstStyle/>
                    <a:p>
                      <a:pPr marL="0" indent="0">
                        <a:lnSpc>
                          <a:spcPct val="100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endParaRPr lang="en-US" sz="1200" b="0" i="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  <a:p>
                      <a:pPr marL="0" indent="0">
                        <a:lnSpc>
                          <a:spcPct val="100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n-US" sz="1200" b="1" i="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Handling of questions:</a:t>
                      </a:r>
                    </a:p>
                    <a:p>
                      <a:pPr marL="171450" indent="-171450">
                        <a:lnSpc>
                          <a:spcPct val="100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200" b="0" i="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For understanding questions ask right away</a:t>
                      </a:r>
                    </a:p>
                    <a:p>
                      <a:pPr marL="171450" indent="-171450">
                        <a:lnSpc>
                          <a:spcPct val="100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200" b="0" i="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For major problems go to separate helpline Teams meeting: one of the teachers will join you as a coach</a:t>
                      </a:r>
                    </a:p>
                    <a:p>
                      <a:pPr marL="171450" indent="-171450">
                        <a:lnSpc>
                          <a:spcPct val="100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200" b="0" i="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Expert discussions moved to break or afterwards</a:t>
                      </a:r>
                    </a:p>
                    <a:p>
                      <a:pPr marL="171450" indent="-171450">
                        <a:lnSpc>
                          <a:spcPct val="100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endParaRPr lang="en-US" sz="1200" b="0" i="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  <a:p>
                      <a:pPr marL="0" indent="0">
                        <a:lnSpc>
                          <a:spcPct val="100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n-US" sz="1200" b="1" i="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With a wide range of participant’s knowledge:</a:t>
                      </a:r>
                    </a:p>
                    <a:p>
                      <a:pPr marL="171450" indent="-171450">
                        <a:lnSpc>
                          <a:spcPct val="100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200" b="0" i="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Target speed is for 20% too fast / for 50% too slow</a:t>
                      </a:r>
                    </a:p>
                    <a:p>
                      <a:pPr marL="0" indent="0">
                        <a:lnSpc>
                          <a:spcPct val="100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endParaRPr lang="en-US" sz="1200" b="0" i="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91392" marR="91392" marT="45696" marB="45696"/>
                </a:tc>
                <a:extLst>
                  <a:ext uri="{0D108BD9-81ED-4DB2-BD59-A6C34878D82A}">
                    <a16:rowId xmlns:a16="http://schemas.microsoft.com/office/drawing/2014/main" val="1605190780"/>
                  </a:ext>
                </a:extLst>
              </a:tr>
              <a:tr h="1188101">
                <a:tc>
                  <a:txBody>
                    <a:bodyPr/>
                    <a:lstStyle/>
                    <a:p>
                      <a:r>
                        <a:rPr lang="de-DE" sz="1400" b="1"/>
                        <a:t>DS2 Python: Pandas and </a:t>
                      </a:r>
                      <a:r>
                        <a:rPr lang="de-DE" sz="1400" b="1" err="1"/>
                        <a:t>Seaborn</a:t>
                      </a:r>
                      <a:endParaRPr lang="de-DE" sz="1400" b="1"/>
                    </a:p>
                    <a:p>
                      <a:endParaRPr lang="en-US" sz="1400" b="1"/>
                    </a:p>
                  </a:txBody>
                  <a:tcPr marL="91392" marR="91392" marT="45696" marB="45696"/>
                </a:tc>
                <a:tc>
                  <a:txBody>
                    <a:bodyPr/>
                    <a:lstStyle/>
                    <a:p>
                      <a:pPr marL="179388" indent="-179388">
                        <a:buFont typeface="Arial" panose="020B0604020202020204" pitchFamily="34" charset="0"/>
                        <a:buChar char="•"/>
                      </a:pPr>
                      <a:r>
                        <a:rPr lang="en-US" sz="1200" kern="1200" dirty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Recap</a:t>
                      </a:r>
                    </a:p>
                    <a:p>
                      <a:pPr marL="179388" indent="-179388">
                        <a:buFont typeface="Arial" panose="020B0604020202020204" pitchFamily="34" charset="0"/>
                        <a:buChar char="•"/>
                      </a:pPr>
                      <a:r>
                        <a:rPr lang="en-US" sz="1200" kern="1200" dirty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Handling Nans</a:t>
                      </a:r>
                    </a:p>
                    <a:p>
                      <a:pPr marL="179388" indent="-179388">
                        <a:buFont typeface="Arial" panose="020B0604020202020204" pitchFamily="34" charset="0"/>
                        <a:buChar char="•"/>
                      </a:pPr>
                      <a:r>
                        <a:rPr lang="en-US" sz="1200" kern="1200" dirty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Resample and Fill</a:t>
                      </a:r>
                    </a:p>
                    <a:p>
                      <a:pPr marL="179388" indent="-179388">
                        <a:buFont typeface="Arial" panose="020B0604020202020204" pitchFamily="34" charset="0"/>
                        <a:buChar char="•"/>
                      </a:pPr>
                      <a:r>
                        <a:rPr lang="en-US" sz="1200" kern="1200" dirty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Calculation with </a:t>
                      </a:r>
                      <a:r>
                        <a:rPr lang="en-US" sz="1200" kern="1200" dirty="0" err="1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dataframes</a:t>
                      </a:r>
                      <a:endParaRPr lang="en-US" sz="1200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  <a:p>
                      <a:pPr marL="179388" indent="-179388">
                        <a:buFont typeface="Arial" panose="020B0604020202020204" pitchFamily="34" charset="0"/>
                        <a:buChar char="•"/>
                      </a:pPr>
                      <a:r>
                        <a:rPr lang="en-US" sz="1200" kern="1200" dirty="0" err="1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PickleFormat</a:t>
                      </a:r>
                      <a:endParaRPr lang="en-US" sz="1200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  <a:p>
                      <a:pPr marL="179388" indent="-179388">
                        <a:buFont typeface="Arial" panose="020B0604020202020204" pitchFamily="34" charset="0"/>
                        <a:buChar char="•"/>
                      </a:pPr>
                      <a:r>
                        <a:rPr lang="en-US" sz="1200" kern="1200" dirty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Connecting </a:t>
                      </a:r>
                      <a:r>
                        <a:rPr lang="en-US" sz="1200" kern="1200" noProof="0" dirty="0" err="1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dataframes</a:t>
                      </a:r>
                      <a:endParaRPr lang="en-US" sz="1200" kern="1200" noProof="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  <a:p>
                      <a:pPr marL="179388" indent="-179388">
                        <a:buFont typeface="Arial" panose="020B0604020202020204" pitchFamily="34" charset="0"/>
                        <a:buChar char="•"/>
                      </a:pPr>
                      <a:r>
                        <a:rPr lang="en-US" sz="1200" kern="1200" noProof="0" dirty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Intro Visualization with Seaborn</a:t>
                      </a:r>
                      <a:endParaRPr lang="en-US" sz="1200" noProof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392" marR="91392" marT="45696" marB="45696"/>
                </a:tc>
                <a:tc vMerge="1">
                  <a:txBody>
                    <a:bodyPr/>
                    <a:lstStyle/>
                    <a:p>
                      <a:pPr marL="179388" indent="-179388">
                        <a:buFont typeface="Arial" panose="020B0604020202020204" pitchFamily="34" charset="0"/>
                        <a:buChar char="•"/>
                      </a:pPr>
                      <a:endParaRPr lang="en-US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61476289"/>
                  </a:ext>
                </a:extLst>
              </a:tr>
              <a:tr h="1386347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b="1"/>
                        <a:t>DS 3 Data Pulling in Energy AI</a:t>
                      </a:r>
                      <a:endParaRPr lang="de-DE" sz="1400" b="1" dirty="0"/>
                    </a:p>
                  </a:txBody>
                  <a:tcPr marL="91392" marR="91392" marT="45696" marB="45696"/>
                </a:tc>
                <a:tc>
                  <a:txBody>
                    <a:bodyPr/>
                    <a:lstStyle/>
                    <a:p>
                      <a:pPr marL="171450" indent="-171450"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2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Intro Data Pulling</a:t>
                      </a:r>
                    </a:p>
                    <a:p>
                      <a:pPr marL="179388" indent="-179388"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2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Time Interval</a:t>
                      </a:r>
                    </a:p>
                    <a:p>
                      <a:pPr marL="179388" indent="-179388"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2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Plants, Units and Signals</a:t>
                      </a:r>
                    </a:p>
                    <a:p>
                      <a:pPr marL="179388" indent="-179388"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2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Period, Aggregation</a:t>
                      </a:r>
                    </a:p>
                    <a:p>
                      <a:pPr marL="179388" indent="-179388"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2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Fill, Thresholds, </a:t>
                      </a:r>
                      <a:r>
                        <a:rPr lang="en-US" sz="1200" dirty="0" err="1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Poststresholds</a:t>
                      </a:r>
                      <a:endParaRPr lang="en-US" sz="12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  <a:p>
                      <a:pPr marL="179388" indent="-179388"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2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Plotting with Seaborn (cont.)</a:t>
                      </a:r>
                    </a:p>
                    <a:p>
                      <a:pPr marL="179388" indent="-179388"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2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Examples</a:t>
                      </a:r>
                    </a:p>
                  </a:txBody>
                  <a:tcPr marL="68544" marR="68544" marT="0" marB="0"/>
                </a:tc>
                <a:tc vMerge="1">
                  <a:txBody>
                    <a:bodyPr/>
                    <a:lstStyle/>
                    <a:p>
                      <a:pPr marL="179388" indent="-179388"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endParaRPr lang="en-US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 anchor="ctr"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71006337"/>
                  </a:ext>
                </a:extLst>
              </a:tr>
            </a:tbl>
          </a:graphicData>
        </a:graphic>
      </p:graphicFrame>
      <p:pic>
        <p:nvPicPr>
          <p:cNvPr id="5" name="Picture 4">
            <a:extLst>
              <a:ext uri="{FF2B5EF4-FFF2-40B4-BE49-F238E27FC236}">
                <a16:creationId xmlns:a16="http://schemas.microsoft.com/office/drawing/2014/main" id="{AD373D40-CE48-4397-8B65-7D2F1BE3DC7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792308" y="4621101"/>
            <a:ext cx="2575891" cy="1638784"/>
          </a:xfrm>
          <a:prstGeom prst="rect">
            <a:avLst/>
          </a:prstGeom>
          <a:ln w="38100" cap="sq">
            <a:solidFill>
              <a:srgbClr val="7030A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100739851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C7A00FC-F6FA-442A-B717-9468BF7A288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lnSpc>
                <a:spcPct val="125000"/>
              </a:lnSpc>
            </a:pPr>
            <a:r>
              <a:rPr lang="en-US" noProof="0"/>
              <a:t>Our Focus in the Digitalization World is Data Science</a:t>
            </a:r>
          </a:p>
        </p:txBody>
      </p:sp>
      <p:sp>
        <p:nvSpPr>
          <p:cNvPr id="5" name="Titel 1">
            <a:extLst>
              <a:ext uri="{FF2B5EF4-FFF2-40B4-BE49-F238E27FC236}">
                <a16:creationId xmlns:a16="http://schemas.microsoft.com/office/drawing/2014/main" id="{1C27725D-D437-4821-9504-6CB88F6AD93F}"/>
              </a:ext>
            </a:extLst>
          </p:cNvPr>
          <p:cNvSpPr txBox="1">
            <a:spLocks/>
          </p:cNvSpPr>
          <p:nvPr/>
        </p:nvSpPr>
        <p:spPr bwMode="auto">
          <a:xfrm>
            <a:off x="626786" y="5794768"/>
            <a:ext cx="11082914" cy="395794"/>
          </a:xfrm>
          <a:prstGeom prst="rect">
            <a:avLst/>
          </a:prstGeom>
          <a:noFill/>
          <a:ln w="9525">
            <a:solidFill>
              <a:schemeClr val="accent1"/>
            </a:solidFill>
            <a:miter lim="800000"/>
            <a:headEnd/>
            <a:tailEnd/>
          </a:ln>
        </p:spPr>
        <p:txBody>
          <a:bodyPr vert="horz" wrap="square" lIns="179906" tIns="431775" rIns="179906" bIns="431775" numCol="1" anchor="ctr" anchorCtr="0" compatLnSpc="1">
            <a:prstTxWarp prst="textNoShape">
              <a:avLst/>
            </a:prstTxWarp>
            <a:noAutofit/>
          </a:bodyPr>
          <a:lstStyle>
            <a:lvl1pPr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rgbClr val="00646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9pPr>
          </a:lstStyle>
          <a:p>
            <a:pPr algn="ctr"/>
            <a:r>
              <a:rPr lang="en-US" sz="1799" dirty="0"/>
              <a:t>Of course everybody needs a bit of both data types, but without focusing, no one gets anywhere…</a:t>
            </a:r>
          </a:p>
        </p:txBody>
      </p:sp>
      <p:grpSp>
        <p:nvGrpSpPr>
          <p:cNvPr id="15" name="Gruppieren 14">
            <a:extLst>
              <a:ext uri="{FF2B5EF4-FFF2-40B4-BE49-F238E27FC236}">
                <a16:creationId xmlns:a16="http://schemas.microsoft.com/office/drawing/2014/main" id="{F4B8FF6A-C0B3-4FB7-941F-D5825247317C}"/>
              </a:ext>
            </a:extLst>
          </p:cNvPr>
          <p:cNvGrpSpPr/>
          <p:nvPr/>
        </p:nvGrpSpPr>
        <p:grpSpPr>
          <a:xfrm>
            <a:off x="626787" y="2097545"/>
            <a:ext cx="5325226" cy="3541511"/>
            <a:chOff x="627063" y="2826270"/>
            <a:chExt cx="11088685" cy="2016002"/>
          </a:xfrm>
        </p:grpSpPr>
        <p:sp>
          <p:nvSpPr>
            <p:cNvPr id="16" name="Rechteck 15">
              <a:extLst>
                <a:ext uri="{FF2B5EF4-FFF2-40B4-BE49-F238E27FC236}">
                  <a16:creationId xmlns:a16="http://schemas.microsoft.com/office/drawing/2014/main" id="{E446252E-1AF3-464D-B68B-62212512A01D}"/>
                </a:ext>
              </a:extLst>
            </p:cNvPr>
            <p:cNvSpPr/>
            <p:nvPr/>
          </p:nvSpPr>
          <p:spPr bwMode="auto">
            <a:xfrm>
              <a:off x="627063" y="2826272"/>
              <a:ext cx="11088685" cy="2016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accent1"/>
              </a:solidFill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107944" tIns="53972" rIns="107944" bIns="53972" numCol="1" spcCol="72000" rtlCol="0" anchor="t">
              <a:normAutofit/>
            </a:bodyPr>
            <a:lstStyle/>
            <a:p>
              <a:pPr marL="285607" indent="-285607">
                <a:spcBef>
                  <a:spcPts val="600"/>
                </a:spcBef>
                <a:buFont typeface="Arial" panose="020B0604020202020204" pitchFamily="34" charset="0"/>
                <a:buChar char="•"/>
              </a:pPr>
              <a:endParaRPr lang="en-US" sz="1599" dirty="0"/>
            </a:p>
            <a:p>
              <a:pPr>
                <a:spcBef>
                  <a:spcPts val="600"/>
                </a:spcBef>
              </a:pPr>
              <a:endParaRPr lang="en-US" sz="1599" dirty="0"/>
            </a:p>
            <a:p>
              <a:pPr>
                <a:spcBef>
                  <a:spcPts val="600"/>
                </a:spcBef>
              </a:pPr>
              <a:endParaRPr lang="en-US" sz="200" dirty="0"/>
            </a:p>
            <a:p>
              <a:pPr marL="285607" indent="-285607">
                <a:lnSpc>
                  <a:spcPct val="150000"/>
                </a:lnSpc>
                <a:buFont typeface="Arial" panose="020B0604020202020204" pitchFamily="34" charset="0"/>
                <a:buChar char="•"/>
              </a:pPr>
              <a:r>
                <a:rPr lang="en-US" sz="1399" dirty="0"/>
                <a:t>Focus on quantitative data</a:t>
              </a:r>
            </a:p>
            <a:p>
              <a:pPr marL="285607" indent="-285607">
                <a:lnSpc>
                  <a:spcPct val="150000"/>
                </a:lnSpc>
                <a:buFont typeface="Arial" panose="020B0604020202020204" pitchFamily="34" charset="0"/>
                <a:buChar char="•"/>
              </a:pPr>
              <a:endParaRPr lang="en-US" sz="1399" dirty="0"/>
            </a:p>
            <a:p>
              <a:pPr>
                <a:lnSpc>
                  <a:spcPct val="150000"/>
                </a:lnSpc>
              </a:pPr>
              <a:r>
                <a:rPr lang="en-US" sz="1399" dirty="0"/>
                <a:t>For Example:</a:t>
              </a:r>
            </a:p>
            <a:p>
              <a:pPr marL="285607" indent="-285607">
                <a:lnSpc>
                  <a:spcPct val="150000"/>
                </a:lnSpc>
                <a:buFont typeface="Arial" panose="020B0604020202020204" pitchFamily="34" charset="0"/>
                <a:buChar char="•"/>
              </a:pPr>
              <a:r>
                <a:rPr lang="en-US" sz="1399" dirty="0"/>
                <a:t>Power plant sensor data</a:t>
              </a:r>
            </a:p>
            <a:p>
              <a:pPr marL="285607" indent="-285607">
                <a:lnSpc>
                  <a:spcPct val="150000"/>
                </a:lnSpc>
                <a:buFont typeface="Arial" panose="020B0604020202020204" pitchFamily="34" charset="0"/>
                <a:buChar char="•"/>
              </a:pPr>
              <a:r>
                <a:rPr lang="en-US" sz="1399" dirty="0"/>
                <a:t>Manufacturing data</a:t>
              </a:r>
            </a:p>
            <a:p>
              <a:pPr marL="285607" indent="-285607">
                <a:lnSpc>
                  <a:spcPct val="150000"/>
                </a:lnSpc>
                <a:buFont typeface="Arial" panose="020B0604020202020204" pitchFamily="34" charset="0"/>
                <a:buChar char="•"/>
              </a:pPr>
              <a:r>
                <a:rPr lang="en-US" sz="1399" dirty="0"/>
                <a:t>Component design analysis data (FE, CFD, CHT, …)</a:t>
              </a:r>
            </a:p>
            <a:p>
              <a:pPr marL="285607" indent="-285607">
                <a:lnSpc>
                  <a:spcPct val="150000"/>
                </a:lnSpc>
                <a:buFont typeface="Arial" panose="020B0604020202020204" pitchFamily="34" charset="0"/>
                <a:buChar char="•"/>
              </a:pPr>
              <a:r>
                <a:rPr lang="en-US" sz="1399" dirty="0"/>
                <a:t>Test rig data</a:t>
              </a:r>
            </a:p>
            <a:p>
              <a:pPr algn="ctr">
                <a:lnSpc>
                  <a:spcPct val="110000"/>
                </a:lnSpc>
                <a:spcBef>
                  <a:spcPct val="0"/>
                </a:spcBef>
              </a:pPr>
              <a:endParaRPr lang="de-DE" sz="1199" b="1" dirty="0">
                <a:ea typeface="Arial Unicode MS" panose="020B0604020202020204" pitchFamily="34" charset="-128"/>
              </a:endParaRPr>
            </a:p>
          </p:txBody>
        </p:sp>
        <p:sp>
          <p:nvSpPr>
            <p:cNvPr id="17" name="Rechteck 16">
              <a:extLst>
                <a:ext uri="{FF2B5EF4-FFF2-40B4-BE49-F238E27FC236}">
                  <a16:creationId xmlns:a16="http://schemas.microsoft.com/office/drawing/2014/main" id="{BC37B771-14D1-4729-960B-C96CBE644CD2}"/>
                </a:ext>
              </a:extLst>
            </p:cNvPr>
            <p:cNvSpPr/>
            <p:nvPr/>
          </p:nvSpPr>
          <p:spPr bwMode="auto">
            <a:xfrm>
              <a:off x="627063" y="2826270"/>
              <a:ext cx="11088685" cy="360000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</a:pPr>
              <a:r>
                <a:rPr lang="en-US" sz="1799" b="1">
                  <a:solidFill>
                    <a:schemeClr val="bg1"/>
                  </a:solidFill>
                  <a:ea typeface="Arial Unicode MS" panose="020B0604020202020204" pitchFamily="34" charset="-128"/>
                </a:rPr>
                <a:t>Data Science</a:t>
              </a:r>
            </a:p>
          </p:txBody>
        </p:sp>
      </p:grpSp>
      <p:grpSp>
        <p:nvGrpSpPr>
          <p:cNvPr id="4" name="Gruppieren 3">
            <a:extLst>
              <a:ext uri="{FF2B5EF4-FFF2-40B4-BE49-F238E27FC236}">
                <a16:creationId xmlns:a16="http://schemas.microsoft.com/office/drawing/2014/main" id="{BD5B835A-FC4F-4401-9970-87D91C2C8FCA}"/>
              </a:ext>
            </a:extLst>
          </p:cNvPr>
          <p:cNvGrpSpPr/>
          <p:nvPr/>
        </p:nvGrpSpPr>
        <p:grpSpPr>
          <a:xfrm>
            <a:off x="6386629" y="2097546"/>
            <a:ext cx="5325226" cy="3541515"/>
            <a:chOff x="627063" y="2826270"/>
            <a:chExt cx="11106065" cy="2016002"/>
          </a:xfrm>
        </p:grpSpPr>
        <p:sp>
          <p:nvSpPr>
            <p:cNvPr id="11" name="Rechteck 10">
              <a:extLst>
                <a:ext uri="{FF2B5EF4-FFF2-40B4-BE49-F238E27FC236}">
                  <a16:creationId xmlns:a16="http://schemas.microsoft.com/office/drawing/2014/main" id="{C67B9CE3-A83A-4E32-95E8-559D50F30E19}"/>
                </a:ext>
              </a:extLst>
            </p:cNvPr>
            <p:cNvSpPr/>
            <p:nvPr/>
          </p:nvSpPr>
          <p:spPr bwMode="auto">
            <a:xfrm>
              <a:off x="627063" y="2826272"/>
              <a:ext cx="11106065" cy="2016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accent1"/>
              </a:solidFill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107944" tIns="53972" rIns="107944" bIns="53972" numCol="1" spcCol="72000" rtlCol="0" anchor="t">
              <a:normAutofit/>
            </a:bodyPr>
            <a:lstStyle/>
            <a:p>
              <a:pPr marL="285607" indent="-285607">
                <a:spcBef>
                  <a:spcPts val="600"/>
                </a:spcBef>
                <a:buFont typeface="Arial" panose="020B0604020202020204" pitchFamily="34" charset="0"/>
                <a:buChar char="•"/>
              </a:pPr>
              <a:endParaRPr lang="en-US" sz="1599" dirty="0"/>
            </a:p>
            <a:p>
              <a:pPr>
                <a:spcBef>
                  <a:spcPts val="600"/>
                </a:spcBef>
              </a:pPr>
              <a:endParaRPr lang="en-US" sz="1599" dirty="0"/>
            </a:p>
            <a:p>
              <a:pPr marL="285607" indent="-285607">
                <a:spcBef>
                  <a:spcPts val="600"/>
                </a:spcBef>
                <a:buFont typeface="Arial" panose="020B0604020202020204" pitchFamily="34" charset="0"/>
                <a:buChar char="•"/>
              </a:pPr>
              <a:endParaRPr lang="en-US" sz="200" dirty="0"/>
            </a:p>
            <a:p>
              <a:pPr marL="285607" indent="-285607">
                <a:lnSpc>
                  <a:spcPct val="150000"/>
                </a:lnSpc>
                <a:buFont typeface="Arial" panose="020B0604020202020204" pitchFamily="34" charset="0"/>
                <a:buChar char="•"/>
              </a:pPr>
              <a:r>
                <a:rPr lang="en-US" sz="1399" dirty="0"/>
                <a:t>Focus on qualitative data</a:t>
              </a:r>
            </a:p>
            <a:p>
              <a:pPr marL="285607" indent="-285607">
                <a:lnSpc>
                  <a:spcPct val="150000"/>
                </a:lnSpc>
                <a:buFont typeface="Arial" panose="020B0604020202020204" pitchFamily="34" charset="0"/>
                <a:buChar char="•"/>
              </a:pPr>
              <a:endParaRPr lang="en-US" sz="1399" dirty="0"/>
            </a:p>
            <a:p>
              <a:pPr>
                <a:lnSpc>
                  <a:spcPct val="150000"/>
                </a:lnSpc>
              </a:pPr>
              <a:r>
                <a:rPr lang="en-US" sz="1399" dirty="0"/>
                <a:t>For Example:</a:t>
              </a:r>
            </a:p>
            <a:p>
              <a:pPr marL="285607" indent="-285607">
                <a:lnSpc>
                  <a:spcPct val="150000"/>
                </a:lnSpc>
                <a:buFont typeface="Arial" panose="020B0604020202020204" pitchFamily="34" charset="0"/>
                <a:buChar char="•"/>
              </a:pPr>
              <a:r>
                <a:rPr lang="en-US" sz="1399" dirty="0"/>
                <a:t>Manufacturing and supply data in SAP</a:t>
              </a:r>
            </a:p>
            <a:p>
              <a:pPr marL="285607" indent="-285607">
                <a:lnSpc>
                  <a:spcPct val="150000"/>
                </a:lnSpc>
                <a:buFont typeface="Arial" panose="020B0604020202020204" pitchFamily="34" charset="0"/>
                <a:buChar char="•"/>
              </a:pPr>
              <a:r>
                <a:rPr lang="en-US" sz="1399" dirty="0"/>
                <a:t>Qualitative fleet data (Fleet Intelligence)</a:t>
              </a:r>
            </a:p>
            <a:p>
              <a:pPr marL="285607" indent="-285607">
                <a:lnSpc>
                  <a:spcPct val="150000"/>
                </a:lnSpc>
                <a:buFont typeface="Arial" panose="020B0604020202020204" pitchFamily="34" charset="0"/>
                <a:buChar char="•"/>
              </a:pPr>
              <a:r>
                <a:rPr lang="en-US" sz="1399" dirty="0"/>
                <a:t>PCM</a:t>
              </a:r>
            </a:p>
            <a:p>
              <a:pPr algn="ctr">
                <a:lnSpc>
                  <a:spcPct val="110000"/>
                </a:lnSpc>
                <a:spcBef>
                  <a:spcPct val="0"/>
                </a:spcBef>
              </a:pPr>
              <a:endParaRPr lang="de-DE" sz="1199" b="1" dirty="0">
                <a:ea typeface="Arial Unicode MS" panose="020B0604020202020204" pitchFamily="34" charset="-128"/>
              </a:endParaRPr>
            </a:p>
          </p:txBody>
        </p:sp>
        <p:sp>
          <p:nvSpPr>
            <p:cNvPr id="12" name="Rechteck 11">
              <a:extLst>
                <a:ext uri="{FF2B5EF4-FFF2-40B4-BE49-F238E27FC236}">
                  <a16:creationId xmlns:a16="http://schemas.microsoft.com/office/drawing/2014/main" id="{86CD7FE6-6492-45BC-87FA-D77CE9BC8328}"/>
                </a:ext>
              </a:extLst>
            </p:cNvPr>
            <p:cNvSpPr/>
            <p:nvPr/>
          </p:nvSpPr>
          <p:spPr bwMode="auto">
            <a:xfrm>
              <a:off x="627063" y="2826270"/>
              <a:ext cx="11088685" cy="360000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</a:pPr>
              <a:r>
                <a:rPr lang="en-US" sz="1799" b="1">
                  <a:solidFill>
                    <a:schemeClr val="bg1"/>
                  </a:solidFill>
                  <a:ea typeface="Arial Unicode MS" panose="020B0604020202020204" pitchFamily="34" charset="-128"/>
                </a:rPr>
                <a:t>Business Intelligence</a:t>
              </a:r>
            </a:p>
          </p:txBody>
        </p:sp>
      </p:grpSp>
      <p:sp>
        <p:nvSpPr>
          <p:cNvPr id="8" name="Pfeil: nach unten 7">
            <a:extLst>
              <a:ext uri="{FF2B5EF4-FFF2-40B4-BE49-F238E27FC236}">
                <a16:creationId xmlns:a16="http://schemas.microsoft.com/office/drawing/2014/main" id="{87CB8749-9249-4542-957A-06B957381046}"/>
              </a:ext>
            </a:extLst>
          </p:cNvPr>
          <p:cNvSpPr/>
          <p:nvPr/>
        </p:nvSpPr>
        <p:spPr bwMode="auto">
          <a:xfrm>
            <a:off x="1022079" y="1218944"/>
            <a:ext cx="4783294" cy="827661"/>
          </a:xfrm>
          <a:prstGeom prst="downArrow">
            <a:avLst>
              <a:gd name="adj1" fmla="val 57065"/>
              <a:gd name="adj2" fmla="val 50000"/>
            </a:avLst>
          </a:prstGeom>
          <a:solidFill>
            <a:srgbClr val="EB780A"/>
          </a:solidFill>
          <a:ln>
            <a:solidFill>
              <a:schemeClr val="accent1"/>
            </a:solidFill>
          </a:ln>
          <a:effectLst/>
        </p:spPr>
        <p:txBody>
          <a:bodyPr wrap="square" lIns="107944" tIns="53972" rIns="107944" bIns="53972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en-US" sz="1799">
                <a:ea typeface="Arial Unicode MS" panose="020B0604020202020204" pitchFamily="34" charset="-128"/>
                <a:cs typeface="Arial Unicode MS" panose="020B0604020202020204" pitchFamily="34" charset="-128"/>
              </a:rPr>
              <a:t>Our Focus</a:t>
            </a:r>
          </a:p>
        </p:txBody>
      </p:sp>
    </p:spTree>
    <p:extLst>
      <p:ext uri="{BB962C8B-B14F-4D97-AF65-F5344CB8AC3E}">
        <p14:creationId xmlns:p14="http://schemas.microsoft.com/office/powerpoint/2010/main" val="405664681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ACD52DA-7508-4AB4-9AD6-884B6B4B51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lnSpc>
                <a:spcPct val="125000"/>
              </a:lnSpc>
            </a:pPr>
            <a:r>
              <a:rPr lang="en-US" noProof="0"/>
              <a:t>Definition Data Science</a:t>
            </a:r>
            <a:br>
              <a:rPr lang="en-US" noProof="0"/>
            </a:br>
            <a:endParaRPr lang="en-US" noProof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A60CB79D-10B0-4000-B950-5CD065CECD65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570461" y="1466582"/>
            <a:ext cx="6251575" cy="2714625"/>
          </a:xfrm>
        </p:spPr>
        <p:txBody>
          <a:bodyPr/>
          <a:lstStyle/>
          <a:p>
            <a:pPr>
              <a:lnSpc>
                <a:spcPct val="200000"/>
              </a:lnSpc>
              <a:spcBef>
                <a:spcPts val="600"/>
              </a:spcBef>
            </a:pPr>
            <a:r>
              <a:rPr lang="en-US" noProof="0" dirty="0"/>
              <a:t>Data science is a multi-disciplinary field that uses scientific methods, processes, algorithms and systems to extract knowledge and insights from structured and unstructured data. </a:t>
            </a:r>
            <a:r>
              <a:rPr lang="en-US" baseline="30000" noProof="0" dirty="0"/>
              <a:t>[1]</a:t>
            </a:r>
          </a:p>
          <a:p>
            <a:pPr>
              <a:spcBef>
                <a:spcPts val="600"/>
              </a:spcBef>
            </a:pPr>
            <a:endParaRPr lang="en-US" baseline="30000" noProof="0" dirty="0"/>
          </a:p>
        </p:txBody>
      </p:sp>
      <p:grpSp>
        <p:nvGrpSpPr>
          <p:cNvPr id="5" name="Gruppieren 4">
            <a:extLst>
              <a:ext uri="{FF2B5EF4-FFF2-40B4-BE49-F238E27FC236}">
                <a16:creationId xmlns:a16="http://schemas.microsoft.com/office/drawing/2014/main" id="{0F8C594B-020C-4BF6-B8B1-141479724EA5}"/>
              </a:ext>
            </a:extLst>
          </p:cNvPr>
          <p:cNvGrpSpPr/>
          <p:nvPr/>
        </p:nvGrpSpPr>
        <p:grpSpPr>
          <a:xfrm>
            <a:off x="7175558" y="1953604"/>
            <a:ext cx="3887233" cy="3380971"/>
            <a:chOff x="5847147" y="941422"/>
            <a:chExt cx="4950866" cy="4791834"/>
          </a:xfrm>
        </p:grpSpPr>
        <p:sp>
          <p:nvSpPr>
            <p:cNvPr id="4" name="Ellipse 3">
              <a:extLst>
                <a:ext uri="{FF2B5EF4-FFF2-40B4-BE49-F238E27FC236}">
                  <a16:creationId xmlns:a16="http://schemas.microsoft.com/office/drawing/2014/main" id="{A5177FB9-F4CF-44E8-9D6C-EE6007D731FA}"/>
                </a:ext>
              </a:extLst>
            </p:cNvPr>
            <p:cNvSpPr/>
            <p:nvPr/>
          </p:nvSpPr>
          <p:spPr bwMode="auto">
            <a:xfrm>
              <a:off x="5847147" y="944461"/>
              <a:ext cx="3420000" cy="3384000"/>
            </a:xfrm>
            <a:prstGeom prst="ellipse">
              <a:avLst/>
            </a:prstGeom>
            <a:solidFill>
              <a:schemeClr val="accent2">
                <a:alpha val="29000"/>
              </a:schemeClr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en-US" sz="1799"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7" name="Ellipse 6">
              <a:extLst>
                <a:ext uri="{FF2B5EF4-FFF2-40B4-BE49-F238E27FC236}">
                  <a16:creationId xmlns:a16="http://schemas.microsoft.com/office/drawing/2014/main" id="{6AFA4F16-D498-461F-8B64-8242DFDF77AE}"/>
                </a:ext>
              </a:extLst>
            </p:cNvPr>
            <p:cNvSpPr/>
            <p:nvPr/>
          </p:nvSpPr>
          <p:spPr bwMode="auto">
            <a:xfrm>
              <a:off x="7378013" y="941422"/>
              <a:ext cx="3420000" cy="3384000"/>
            </a:xfrm>
            <a:prstGeom prst="ellipse">
              <a:avLst/>
            </a:prstGeom>
            <a:solidFill>
              <a:schemeClr val="accent2">
                <a:alpha val="29000"/>
              </a:schemeClr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en-US" sz="1799"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8" name="Ellipse 7">
              <a:extLst>
                <a:ext uri="{FF2B5EF4-FFF2-40B4-BE49-F238E27FC236}">
                  <a16:creationId xmlns:a16="http://schemas.microsoft.com/office/drawing/2014/main" id="{3D409DF1-6511-4085-986A-33ABC3E9F550}"/>
                </a:ext>
              </a:extLst>
            </p:cNvPr>
            <p:cNvSpPr/>
            <p:nvPr/>
          </p:nvSpPr>
          <p:spPr bwMode="auto">
            <a:xfrm>
              <a:off x="6612580" y="2349256"/>
              <a:ext cx="3420000" cy="3384000"/>
            </a:xfrm>
            <a:prstGeom prst="ellipse">
              <a:avLst/>
            </a:prstGeom>
            <a:solidFill>
              <a:schemeClr val="accent2">
                <a:alpha val="29000"/>
              </a:schemeClr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en-US" sz="1799"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9" name="Textfeld 8">
              <a:extLst>
                <a:ext uri="{FF2B5EF4-FFF2-40B4-BE49-F238E27FC236}">
                  <a16:creationId xmlns:a16="http://schemas.microsoft.com/office/drawing/2014/main" id="{9C1C3D27-3C89-4901-AAF3-D2F845E40426}"/>
                </a:ext>
              </a:extLst>
            </p:cNvPr>
            <p:cNvSpPr txBox="1"/>
            <p:nvPr/>
          </p:nvSpPr>
          <p:spPr>
            <a:xfrm>
              <a:off x="6239348" y="2098188"/>
              <a:ext cx="1073667" cy="32403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ctr">
                <a:lnSpc>
                  <a:spcPct val="110000"/>
                </a:lnSpc>
              </a:pPr>
              <a:r>
                <a:rPr lang="en-US" sz="1199"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Math, Stats, Algorithms</a:t>
              </a:r>
            </a:p>
          </p:txBody>
        </p:sp>
        <p:sp>
          <p:nvSpPr>
            <p:cNvPr id="10" name="Textfeld 9">
              <a:extLst>
                <a:ext uri="{FF2B5EF4-FFF2-40B4-BE49-F238E27FC236}">
                  <a16:creationId xmlns:a16="http://schemas.microsoft.com/office/drawing/2014/main" id="{737BC11B-F7DD-4124-A3FF-D2998A12B2B0}"/>
                </a:ext>
              </a:extLst>
            </p:cNvPr>
            <p:cNvSpPr txBox="1"/>
            <p:nvPr/>
          </p:nvSpPr>
          <p:spPr>
            <a:xfrm>
              <a:off x="7621694" y="4547087"/>
              <a:ext cx="1401767" cy="32403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ctr">
                <a:lnSpc>
                  <a:spcPct val="110000"/>
                </a:lnSpc>
              </a:pPr>
              <a:r>
                <a:rPr lang="en-US" sz="1199"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Data Communication</a:t>
              </a:r>
            </a:p>
          </p:txBody>
        </p:sp>
        <p:sp>
          <p:nvSpPr>
            <p:cNvPr id="11" name="Textfeld 10">
              <a:extLst>
                <a:ext uri="{FF2B5EF4-FFF2-40B4-BE49-F238E27FC236}">
                  <a16:creationId xmlns:a16="http://schemas.microsoft.com/office/drawing/2014/main" id="{673F2FCB-A999-4CEA-8440-1910D0A1CD00}"/>
                </a:ext>
              </a:extLst>
            </p:cNvPr>
            <p:cNvSpPr txBox="1"/>
            <p:nvPr/>
          </p:nvSpPr>
          <p:spPr>
            <a:xfrm>
              <a:off x="9391566" y="2098188"/>
              <a:ext cx="1114222" cy="32403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ctr">
                <a:lnSpc>
                  <a:spcPct val="110000"/>
                </a:lnSpc>
              </a:pPr>
              <a:r>
                <a:rPr lang="en-US" sz="1199"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Software Engineering</a:t>
              </a:r>
            </a:p>
          </p:txBody>
        </p:sp>
        <p:sp>
          <p:nvSpPr>
            <p:cNvPr id="12" name="Textfeld 11">
              <a:extLst>
                <a:ext uri="{FF2B5EF4-FFF2-40B4-BE49-F238E27FC236}">
                  <a16:creationId xmlns:a16="http://schemas.microsoft.com/office/drawing/2014/main" id="{313B624F-882F-49DE-B493-F11BF3358803}"/>
                </a:ext>
              </a:extLst>
            </p:cNvPr>
            <p:cNvSpPr txBox="1"/>
            <p:nvPr/>
          </p:nvSpPr>
          <p:spPr>
            <a:xfrm>
              <a:off x="6677657" y="3701569"/>
              <a:ext cx="1105166" cy="32403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ctr">
                <a:lnSpc>
                  <a:spcPct val="110000"/>
                </a:lnSpc>
              </a:pPr>
              <a:r>
                <a:rPr lang="en-US" sz="1199"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Data Analyst</a:t>
              </a:r>
            </a:p>
          </p:txBody>
        </p:sp>
        <p:sp>
          <p:nvSpPr>
            <p:cNvPr id="13" name="Textfeld 12">
              <a:extLst>
                <a:ext uri="{FF2B5EF4-FFF2-40B4-BE49-F238E27FC236}">
                  <a16:creationId xmlns:a16="http://schemas.microsoft.com/office/drawing/2014/main" id="{7F4F9193-9E54-4EAE-8B3A-F5217D0ACAE3}"/>
                </a:ext>
              </a:extLst>
            </p:cNvPr>
            <p:cNvSpPr txBox="1"/>
            <p:nvPr/>
          </p:nvSpPr>
          <p:spPr>
            <a:xfrm>
              <a:off x="7865379" y="1737669"/>
              <a:ext cx="914400" cy="32403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ctr">
                <a:lnSpc>
                  <a:spcPct val="110000"/>
                </a:lnSpc>
              </a:pPr>
              <a:r>
                <a:rPr lang="en-US" sz="1199"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Data Engineer</a:t>
              </a:r>
            </a:p>
          </p:txBody>
        </p:sp>
        <p:sp>
          <p:nvSpPr>
            <p:cNvPr id="14" name="Textfeld 13">
              <a:extLst>
                <a:ext uri="{FF2B5EF4-FFF2-40B4-BE49-F238E27FC236}">
                  <a16:creationId xmlns:a16="http://schemas.microsoft.com/office/drawing/2014/main" id="{C68FBC5C-73AB-48CF-B804-CB54D2A3DBCB}"/>
                </a:ext>
              </a:extLst>
            </p:cNvPr>
            <p:cNvSpPr txBox="1"/>
            <p:nvPr/>
          </p:nvSpPr>
          <p:spPr>
            <a:xfrm>
              <a:off x="7488535" y="2946665"/>
              <a:ext cx="1668085" cy="32403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ctr">
                <a:lnSpc>
                  <a:spcPct val="110000"/>
                </a:lnSpc>
              </a:pPr>
              <a:r>
                <a:rPr lang="en-US" sz="1199"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Data Scientist</a:t>
              </a:r>
            </a:p>
          </p:txBody>
        </p:sp>
      </p:grpSp>
      <p:sp>
        <p:nvSpPr>
          <p:cNvPr id="17" name="Titel 1">
            <a:extLst>
              <a:ext uri="{FF2B5EF4-FFF2-40B4-BE49-F238E27FC236}">
                <a16:creationId xmlns:a16="http://schemas.microsoft.com/office/drawing/2014/main" id="{65246779-6C00-405A-9480-668B78EA6A81}"/>
              </a:ext>
            </a:extLst>
          </p:cNvPr>
          <p:cNvSpPr txBox="1">
            <a:spLocks/>
          </p:cNvSpPr>
          <p:nvPr/>
        </p:nvSpPr>
        <p:spPr bwMode="auto">
          <a:xfrm>
            <a:off x="629069" y="5613681"/>
            <a:ext cx="11082914" cy="576880"/>
          </a:xfrm>
          <a:prstGeom prst="rect">
            <a:avLst/>
          </a:prstGeom>
          <a:noFill/>
          <a:ln w="9525">
            <a:solidFill>
              <a:schemeClr val="accent1"/>
            </a:solidFill>
            <a:miter lim="800000"/>
            <a:headEnd/>
            <a:tailEnd/>
          </a:ln>
        </p:spPr>
        <p:txBody>
          <a:bodyPr vert="horz" wrap="square" lIns="179906" tIns="431775" rIns="179906" bIns="431775" numCol="1" anchor="ctr" anchorCtr="0" compatLnSpc="1">
            <a:prstTxWarp prst="textNoShape">
              <a:avLst/>
            </a:prstTxWarp>
            <a:noAutofit/>
          </a:bodyPr>
          <a:lstStyle>
            <a:lvl1pPr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rgbClr val="00646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9pPr>
          </a:lstStyle>
          <a:p>
            <a:pPr algn="ctr"/>
            <a:r>
              <a:rPr lang="en-US" sz="1799" kern="0" dirty="0"/>
              <a:t>Data science includes “new” (Machine Learning) and “old” (conventional analytics).</a:t>
            </a:r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0CEFE104-AA26-437F-A43C-E93800614642}"/>
              </a:ext>
            </a:extLst>
          </p:cNvPr>
          <p:cNvSpPr txBox="1"/>
          <p:nvPr/>
        </p:nvSpPr>
        <p:spPr>
          <a:xfrm>
            <a:off x="1620253" y="6237241"/>
            <a:ext cx="8084429" cy="23454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10000"/>
              </a:lnSpc>
            </a:pPr>
            <a:r>
              <a:rPr lang="en-US" sz="1799" baseline="30000"/>
              <a:t>[1] en.wikipedia.org/wiki/Data_science</a:t>
            </a:r>
          </a:p>
          <a:p>
            <a:pPr>
              <a:lnSpc>
                <a:spcPct val="110000"/>
              </a:lnSpc>
            </a:pPr>
            <a:endParaRPr lang="en-US" sz="1199"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137EE0CD-E9E6-4235-8511-96FE699E16C5}"/>
              </a:ext>
            </a:extLst>
          </p:cNvPr>
          <p:cNvSpPr/>
          <p:nvPr/>
        </p:nvSpPr>
        <p:spPr bwMode="auto">
          <a:xfrm>
            <a:off x="6976007" y="1455072"/>
            <a:ext cx="4337856" cy="3987459"/>
          </a:xfrm>
          <a:prstGeom prst="rect">
            <a:avLst/>
          </a:prstGeom>
          <a:noFill/>
          <a:ln>
            <a:solidFill>
              <a:srgbClr val="00646E"/>
            </a:solidFill>
          </a:ln>
          <a:effectLst/>
        </p:spPr>
        <p:txBody>
          <a:bodyPr wrap="square" lIns="107944" tIns="53972" rIns="107944" bIns="53972" numCol="1" spcCol="72000" rtlCol="0" anchor="t">
            <a:noAutofit/>
          </a:bodyPr>
          <a:lstStyle/>
          <a:p>
            <a:pPr algn="ctr">
              <a:lnSpc>
                <a:spcPct val="110000"/>
              </a:lnSpc>
            </a:pPr>
            <a:endParaRPr lang="en-US" sz="800">
              <a:ea typeface="Arial Unicode MS" panose="020B0604020202020204" pitchFamily="34" charset="-128"/>
            </a:endParaRPr>
          </a:p>
          <a:p>
            <a:pPr algn="ctr">
              <a:lnSpc>
                <a:spcPct val="110000"/>
              </a:lnSpc>
            </a:pPr>
            <a:r>
              <a:rPr lang="en-US" sz="1199">
                <a:ea typeface="Arial Unicode MS" panose="020B0604020202020204" pitchFamily="34" charset="-128"/>
              </a:rPr>
              <a:t>Technical Domain Knowhow</a:t>
            </a:r>
          </a:p>
        </p:txBody>
      </p:sp>
    </p:spTree>
    <p:extLst>
      <p:ext uri="{BB962C8B-B14F-4D97-AF65-F5344CB8AC3E}">
        <p14:creationId xmlns:p14="http://schemas.microsoft.com/office/powerpoint/2010/main" val="167455614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F469ADF-86A2-4CF2-9342-2ACBFEF20117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DE" dirty="0"/>
              <a:t>Python - a </a:t>
            </a:r>
            <a:r>
              <a:rPr lang="de-DE" dirty="0" err="1"/>
              <a:t>short</a:t>
            </a:r>
            <a:r>
              <a:rPr lang="de-DE" dirty="0"/>
              <a:t> </a:t>
            </a:r>
            <a:r>
              <a:rPr lang="de-DE" dirty="0" err="1"/>
              <a:t>overview</a:t>
            </a:r>
            <a:endParaRPr lang="de-DE" dirty="0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BB304250-495F-4FF4-9C0C-A1F75A96ACE4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6494520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MBAQEBAQEBAQEBAQEBAQIAAAAAAAAAAwAAAAMAAAAA/////wQAJwwAAAAAAAAAAAAAIAD///////////////8AAAD///////////////8DAAAAAgD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EAP///////wQAAAACABAACxz4tEHyblxDjrsXiAnf5CoFAAAAAAADAAAAAAADAAAAAwADAAAAAAD///////8DAAAAAAD///////8DAAAAAAD///////8DAAEA////////BAAAAAMAEAALuzoq6i1+hEeHQahKXA5K+gUAAAABAAMAAAAC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PwLAAAAAAAAAAAAACAB////////////////AAAA////////////////BAAAAAMA////////BAAAAAMA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wEDAAAAAgD///////8aAAZMaW5rZWRTaGFwZXNEYXRhUHJvcGVydHlfMAUAAAAAAAQAAAADAAQAAAABAAQAAAADAP///////wQAAAADAP///////wMAAwEDAAAAAwD///////8lAAZMaW5rZWRTaGFwZVByZXNlbnRhdGlvblNldHRpbmdzRGF0YV8wBQAAAAEABAAAAAAABAAAAAIABAAAAAAABAAAAAIABAAAAAAABA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3DgAAAAAAAAAAAAD/////gwCDAAAABV9pZAAQAAAABBz4tEHyblxDjrsXiAnf5CoDRGF0YQAbAAAABExpbmtlZFNoYXBlRGF0YQAFAAAAAAACTmFtZQAZAAAATGlua2VkU2hhcGVzRGF0YVByb3BlcnR5ABBWZXJzaW9uAAAAAAAJTGFzdFdyaXRlAIHthTp7AQAAAAEA/////50AnQAAAAVfaWQAEAAAAAS7OirqLX6ER4dBqEpcDkr6A0RhdGEAKgAAAAhQcmVzZW50YXRpb25TY2FubmVkRm9yTGlua2VkU2hhcGVzAAEAAk5hbWUAJAAAAExpbmtlZFNoYXBlUHJlc2VudGF0aW9uU2V0dGluZ3NEYXRhABBWZXJzaW9uAAAAAAAJTGFzdFdyaXRlAB7uhTp7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B_LENGTH" val="24576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NAVBARONTHISSLIDE" val="True"/>
  <p:tag name="CDT_INTERSECT_SLIDE" val="False"/>
  <p:tag name="CDT_DESIGNS_NAME" val="Siemens 2013 – 16:9"/>
  <p:tag name="CDT_MASTERS_NAME" val="One object (small) + Navigation"/>
  <p:tag name="CDT_LAYOUT_TYPE" val="32"/>
  <p:tag name="CDT_ORIGINAL_DESIGNS_NAME" val="Siemens 2013 – 16:9"/>
  <p:tag name="CDT_ORIGINAL_MASTERS_NAME" val="One object (small) + Navigation"/>
  <p:tag name="CDT_ORIGINAL_LAYOUT_TYPE" val="32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NAVBARONTHISSLIDE" val="True"/>
  <p:tag name="CDT_INTERSECT_SLIDE" val="False"/>
  <p:tag name="CDT_DESIGNS_NAME" val="Siemens 2013 – 16:9"/>
  <p:tag name="CDT_MASTERS_NAME" val="One object (small) + Navigation"/>
  <p:tag name="CDT_LAYOUT_TYPE" val="32"/>
  <p:tag name="CDT_ORIGINAL_DESIGNS_NAME" val="Siemens 2013 – 16:9"/>
  <p:tag name="CDT_ORIGINAL_MASTERS_NAME" val="One object (small) + Navigation"/>
  <p:tag name="CDT_ORIGINAL_LAYOUT_TYPE" val="32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NAVBARONTHISSLIDE" val="True"/>
  <p:tag name="CDT_INTERSECT_SLIDE" val="False"/>
  <p:tag name="CDT_DESIGNS_NAME" val="Siemens 2013 – 16:9"/>
  <p:tag name="CDT_MASTERS_NAME" val="One object (small) + Navigation"/>
  <p:tag name="CDT_LAYOUT_TYPE" val="32"/>
  <p:tag name="CDT_ORIGINAL_DESIGNS_NAME" val="Siemens 2013 – 16:9"/>
  <p:tag name="CDT_ORIGINAL_MASTERS_NAME" val="One object (small) + Navigation"/>
  <p:tag name="CDT_ORIGINAL_LAYOUT_TYPE" val="32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NAVBARONTHISSLIDE" val="True"/>
  <p:tag name="CDT_INTERSECT_SLIDE" val="False"/>
  <p:tag name="CDT_DESIGNS_NAME" val="Siemens 2013 – 16:9"/>
  <p:tag name="CDT_MASTERS_NAME" val="One object (small) + Navigation"/>
  <p:tag name="CDT_LAYOUT_TYPE" val="32"/>
  <p:tag name="CDT_ORIGINAL_DESIGNS_NAME" val="Siemens 2013 – 16:9"/>
  <p:tag name="CDT_ORIGINAL_MASTERS_NAME" val="One object (small) + Navigation"/>
  <p:tag name="CDT_ORIGINAL_LAYOUT_TYPE" val="32"/>
</p:tagLst>
</file>

<file path=ppt/theme/theme1.xml><?xml version="1.0" encoding="utf-8"?>
<a:theme xmlns:a="http://schemas.openxmlformats.org/drawingml/2006/main" name="Siemens Energy">
  <a:themeElements>
    <a:clrScheme name="Siemens Energy">
      <a:dk1>
        <a:srgbClr val="1B1534"/>
      </a:dk1>
      <a:lt1>
        <a:sysClr val="window" lastClr="FFFFFF"/>
      </a:lt1>
      <a:dk2>
        <a:srgbClr val="1B1534"/>
      </a:dk2>
      <a:lt2>
        <a:srgbClr val="D7E4EE"/>
      </a:lt2>
      <a:accent1>
        <a:srgbClr val="D7E4EE"/>
      </a:accent1>
      <a:accent2>
        <a:srgbClr val="4D217A"/>
      </a:accent2>
      <a:accent3>
        <a:srgbClr val="8A00E5"/>
      </a:accent3>
      <a:accent4>
        <a:srgbClr val="009999"/>
      </a:accent4>
      <a:accent5>
        <a:srgbClr val="F6E600"/>
      </a:accent5>
      <a:accent6>
        <a:srgbClr val="7B919D"/>
      </a:accent6>
      <a:hlink>
        <a:srgbClr val="4D217A"/>
      </a:hlink>
      <a:folHlink>
        <a:srgbClr val="7B919D"/>
      </a:folHlink>
    </a:clrScheme>
    <a:fontScheme name="Siemens Energy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</a:spPr>
      <a:bodyPr lIns="0" tIns="0" rIns="0" bIns="0" rtlCol="0" anchor="ctr"/>
      <a:lstStyle>
        <a:defPPr algn="ctr">
          <a:defRPr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 cap="rnd">
          <a:gradFill>
            <a:gsLst>
              <a:gs pos="0">
                <a:schemeClr val="tx1"/>
              </a:gs>
              <a:gs pos="100000">
                <a:schemeClr val="tx1">
                  <a:alpha val="5000"/>
                </a:schemeClr>
              </a:gs>
            </a:gsLst>
            <a:lin ang="0" scaled="0"/>
          </a:gradFill>
        </a:ln>
        <a:effectLst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algn="l">
          <a:defRPr dirty="0" err="1" smtClean="0"/>
        </a:defPPr>
      </a:lstStyle>
    </a:txDef>
  </a:objectDefaults>
  <a:extraClrSchemeLst/>
  <a:custClrLst>
    <a:custClr name="SE Brown 1">
      <a:srgbClr val="CFC0BE"/>
    </a:custClr>
    <a:custClr name="SE Brown 3">
      <a:srgbClr val="8F7C7A"/>
    </a:custClr>
    <a:custClr name="SE Gray 1">
      <a:srgbClr val="D7E4EE"/>
    </a:custClr>
    <a:custClr name="SE Gray 3">
      <a:srgbClr val="96B0C0"/>
    </a:custClr>
    <a:custClr name="SE Green 1">
      <a:srgbClr val="00FD79"/>
    </a:custClr>
    <a:custClr name="SE Green 3">
      <a:srgbClr val="27B66D"/>
    </a:custClr>
    <a:custClr name="SE Blue 1">
      <a:srgbClr val="6ADDFF"/>
    </a:custClr>
    <a:custClr name="SE Blue 3">
      <a:srgbClr val="0084E1"/>
    </a:custClr>
    <a:custClr name="SE Yellow 1">
      <a:srgbClr val="FFF91F"/>
    </a:custClr>
    <a:custClr name="SE Yellow 3">
      <a:srgbClr val="E2D000"/>
    </a:custClr>
    <a:custClr name="SE Brown 2">
      <a:srgbClr val="AF9E9C"/>
    </a:custClr>
    <a:custClr name="SE Brown 4">
      <a:srgbClr val="7D6766"/>
    </a:custClr>
    <a:custClr name="SE Gray 2">
      <a:srgbClr val="B8CEDB"/>
    </a:custClr>
    <a:custClr name="SE Gray 4">
      <a:srgbClr val="7B919D"/>
    </a:custClr>
    <a:custClr name="SE Green 2">
      <a:srgbClr val="14DA79"/>
    </a:custClr>
    <a:custClr name="SE Green 4">
      <a:srgbClr val="009B55"/>
    </a:custClr>
    <a:custClr name="SE Blue 2">
      <a:srgbClr val="21C0FF"/>
    </a:custClr>
    <a:custClr name="SE Blue 4">
      <a:srgbClr val="0057C6"/>
    </a:custClr>
    <a:custClr name="SE Yellow 2">
      <a:srgbClr val="F6E600"/>
    </a:custClr>
    <a:custClr name="SE Yellow 4">
      <a:srgbClr val="C6AE00"/>
    </a:custClr>
  </a:custClrLst>
</a:theme>
</file>

<file path=ppt/theme/theme2.xml><?xml version="1.0" encoding="utf-8"?>
<a:theme xmlns:a="http://schemas.openxmlformats.org/drawingml/2006/main" name="Siemens Energy">
  <a:themeElements>
    <a:clrScheme name="Siemens Energy">
      <a:dk1>
        <a:srgbClr val="1B1534"/>
      </a:dk1>
      <a:lt1>
        <a:sysClr val="window" lastClr="FFFFFF"/>
      </a:lt1>
      <a:dk2>
        <a:srgbClr val="1B1534"/>
      </a:dk2>
      <a:lt2>
        <a:srgbClr val="D7E4EE"/>
      </a:lt2>
      <a:accent1>
        <a:srgbClr val="D7E4EE"/>
      </a:accent1>
      <a:accent2>
        <a:srgbClr val="4D217A"/>
      </a:accent2>
      <a:accent3>
        <a:srgbClr val="8A00E5"/>
      </a:accent3>
      <a:accent4>
        <a:srgbClr val="009999"/>
      </a:accent4>
      <a:accent5>
        <a:srgbClr val="F6E600"/>
      </a:accent5>
      <a:accent6>
        <a:srgbClr val="7B919D"/>
      </a:accent6>
      <a:hlink>
        <a:srgbClr val="8A00E5"/>
      </a:hlink>
      <a:folHlink>
        <a:srgbClr val="7B919D"/>
      </a:folHlink>
    </a:clrScheme>
    <a:fontScheme name="Siemens Energy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Siemens Energy">
  <a:themeElements>
    <a:clrScheme name="Siemens Energy">
      <a:dk1>
        <a:srgbClr val="1B1534"/>
      </a:dk1>
      <a:lt1>
        <a:sysClr val="window" lastClr="FFFFFF"/>
      </a:lt1>
      <a:dk2>
        <a:srgbClr val="1B1534"/>
      </a:dk2>
      <a:lt2>
        <a:srgbClr val="D7E4EE"/>
      </a:lt2>
      <a:accent1>
        <a:srgbClr val="D7E4EE"/>
      </a:accent1>
      <a:accent2>
        <a:srgbClr val="4D217A"/>
      </a:accent2>
      <a:accent3>
        <a:srgbClr val="8A00E5"/>
      </a:accent3>
      <a:accent4>
        <a:srgbClr val="009999"/>
      </a:accent4>
      <a:accent5>
        <a:srgbClr val="F6E600"/>
      </a:accent5>
      <a:accent6>
        <a:srgbClr val="7B919D"/>
      </a:accent6>
      <a:hlink>
        <a:srgbClr val="8A00E5"/>
      </a:hlink>
      <a:folHlink>
        <a:srgbClr val="7B919D"/>
      </a:folHlink>
    </a:clrScheme>
    <a:fontScheme name="Siemens Energy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Url/>
    <Assembly>Microsoft.Office.DocumentManagement, Version=16.0.0.0, Culture=neutral, PublicKeyToken=71e9bce111e9429c</Assembly>
    <Class>Microsoft.Office.DocumentManagement.Internal.DocIdHandler</Class>
    <Data/>
    <Filter/>
  </Receiver>
</spe:Receiver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397DA0113E919E49B27EBFC36B4F703F" ma:contentTypeVersion="19" ma:contentTypeDescription="Create a new document." ma:contentTypeScope="" ma:versionID="18d719d8b75d4b7aea09c29290e06b36">
  <xsd:schema xmlns:xsd="http://www.w3.org/2001/XMLSchema" xmlns:xs="http://www.w3.org/2001/XMLSchema" xmlns:p="http://schemas.microsoft.com/office/2006/metadata/properties" xmlns:ns2="e7df13b5-889b-49f9-a2b5-b42fba7d0441" xmlns:ns3="a93cb299-8a53-44d8-a5b0-b81a75ad59d2" targetNamespace="http://schemas.microsoft.com/office/2006/metadata/properties" ma:root="true" ma:fieldsID="2d623910483b6c41f71fdefa50ab360f" ns2:_="" ns3:_="">
    <xsd:import namespace="e7df13b5-889b-49f9-a2b5-b42fba7d0441"/>
    <xsd:import namespace="a93cb299-8a53-44d8-a5b0-b81a75ad59d2"/>
    <xsd:element name="properties">
      <xsd:complexType>
        <xsd:sequence>
          <xsd:element name="documentManagement">
            <xsd:complexType>
              <xsd:all>
                <xsd:element ref="ns2:_dlc_DocId" minOccurs="0"/>
                <xsd:element ref="ns2:_dlc_DocIdUrl" minOccurs="0"/>
                <xsd:element ref="ns2:_dlc_DocIdPersistId" minOccurs="0"/>
                <xsd:element ref="ns3:MediaServiceAutoTags" minOccurs="0"/>
                <xsd:element ref="ns3:MediaServiceGenerationTime" minOccurs="0"/>
                <xsd:element ref="ns3:MediaServiceEventHashCode" minOccurs="0"/>
                <xsd:element ref="ns3:MediaServiceOCR" minOccurs="0"/>
                <xsd:element ref="ns2:SharedWithUsers" minOccurs="0"/>
                <xsd:element ref="ns2:SharedWithDetails" minOccurs="0"/>
                <xsd:element ref="ns3:MediaServiceDateTaken" minOccurs="0"/>
                <xsd:element ref="ns3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7df13b5-889b-49f9-a2b5-b42fba7d0441" elementFormDefault="qualified">
    <xsd:import namespace="http://schemas.microsoft.com/office/2006/documentManagement/types"/>
    <xsd:import namespace="http://schemas.microsoft.com/office/infopath/2007/PartnerControls"/>
    <xsd:element name="_dlc_DocId" ma:index="8" nillable="true" ma:displayName="Document ID Value" ma:description="The value of the document ID assigned to this item." ma:internalName="_dlc_DocId" ma:readOnly="true">
      <xsd:simpleType>
        <xsd:restriction base="dms:Text"/>
      </xsd:simpleType>
    </xsd:element>
    <xsd:element name="_dlc_DocIdUrl" ma:index="9" nillable="true" ma:displayName="Document ID" ma:description="Permanent link to this document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10" nillable="true" ma:displayName="Persist ID" ma:description="Keep ID on add." ma:hidden="true" ma:internalName="_dlc_DocIdPersistId" ma:readOnly="true">
      <xsd:simpleType>
        <xsd:restriction base="dms:Boolean"/>
      </xsd:simpleType>
    </xsd:element>
    <xsd:element name="SharedWithUsers" ma:index="15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6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93cb299-8a53-44d8-a5b0-b81a75ad59d2" elementFormDefault="qualified">
    <xsd:import namespace="http://schemas.microsoft.com/office/2006/documentManagement/types"/>
    <xsd:import namespace="http://schemas.microsoft.com/office/infopath/2007/PartnerControls"/>
    <xsd:element name="MediaServiceAutoTags" ma:index="11" nillable="true" ma:displayName="Tags" ma:internalName="MediaServiceAutoTags" ma:readOnly="true">
      <xsd:simpleType>
        <xsd:restriction base="dms:Text"/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DateTaken" ma:index="17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18" nillable="true" ma:displayName="MediaLengthInSeconds" ma:hidden="true" ma:internalName="MediaLengthInSeconds" ma:readOnly="true">
      <xsd:simpleType>
        <xsd:restriction base="dms:Unknow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4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dlc_DocId xmlns="e7df13b5-889b-49f9-a2b5-b42fba7d0441">D53UQQUE5HZ6-1200229289-94</_dlc_DocId>
    <_dlc_DocIdUrl xmlns="e7df13b5-889b-49f9-a2b5-b42fba7d0441">
      <Url>https://siemensenergyag.sharepoint.com/teams/P0002338_1/_layouts/15/DocIdRedir.aspx?ID=D53UQQUE5HZ6-1200229289-94</Url>
      <Description>D53UQQUE5HZ6-1200229289-94</Description>
    </_dlc_DocIdUrl>
  </documentManagement>
</p:properties>
</file>

<file path=customXml/itemProps1.xml><?xml version="1.0" encoding="utf-8"?>
<ds:datastoreItem xmlns:ds="http://schemas.openxmlformats.org/officeDocument/2006/customXml" ds:itemID="{1CC496A9-045A-4763-865B-AF25B0D37743}">
  <ds:schemaRefs>
    <ds:schemaRef ds:uri="http://schemas.microsoft.com/sharepoint/events"/>
  </ds:schemaRefs>
</ds:datastoreItem>
</file>

<file path=customXml/itemProps2.xml><?xml version="1.0" encoding="utf-8"?>
<ds:datastoreItem xmlns:ds="http://schemas.openxmlformats.org/officeDocument/2006/customXml" ds:itemID="{9A92A05F-7F4F-4087-B357-A10638B3EA85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e7df13b5-889b-49f9-a2b5-b42fba7d0441"/>
    <ds:schemaRef ds:uri="a93cb299-8a53-44d8-a5b0-b81a75ad59d2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CBE7C417-A924-40EF-BB1A-2C9EF9AA16FB}">
  <ds:schemaRefs>
    <ds:schemaRef ds:uri="http://schemas.microsoft.com/sharepoint/v3/contenttype/forms"/>
  </ds:schemaRefs>
</ds:datastoreItem>
</file>

<file path=customXml/itemProps4.xml><?xml version="1.0" encoding="utf-8"?>
<ds:datastoreItem xmlns:ds="http://schemas.openxmlformats.org/officeDocument/2006/customXml" ds:itemID="{6FAC0069-6A07-4AE9-83A2-CCF2FCAC3C8F}">
  <ds:schemaRefs>
    <ds:schemaRef ds:uri="http://schemas.microsoft.com/office/2006/documentManagement/types"/>
    <ds:schemaRef ds:uri="a93cb299-8a53-44d8-a5b0-b81a75ad59d2"/>
    <ds:schemaRef ds:uri="http://schemas.microsoft.com/office/2006/metadata/properties"/>
    <ds:schemaRef ds:uri="http://purl.org/dc/elements/1.1/"/>
    <ds:schemaRef ds:uri="http://schemas.openxmlformats.org/package/2006/metadata/core-properties"/>
    <ds:schemaRef ds:uri="http://purl.org/dc/terms/"/>
    <ds:schemaRef ds:uri="e7df13b5-889b-49f9-a2b5-b42fba7d0441"/>
    <ds:schemaRef ds:uri="http://schemas.microsoft.com/office/infopath/2007/PartnerControls"/>
    <ds:schemaRef ds:uri="http://www.w3.org/XML/1998/namespace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1676</Words>
  <Application>Microsoft Office PowerPoint</Application>
  <PresentationFormat>Breitbild</PresentationFormat>
  <Paragraphs>304</Paragraphs>
  <Slides>18</Slides>
  <Notes>8</Notes>
  <HiddenSlides>0</HiddenSlides>
  <MMClips>0</MMClips>
  <ScaleCrop>false</ScaleCrop>
  <HeadingPairs>
    <vt:vector size="6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1</vt:i4>
      </vt:variant>
      <vt:variant>
        <vt:lpstr>Folientitel</vt:lpstr>
      </vt:variant>
      <vt:variant>
        <vt:i4>18</vt:i4>
      </vt:variant>
    </vt:vector>
  </HeadingPairs>
  <TitlesOfParts>
    <vt:vector size="24" baseType="lpstr">
      <vt:lpstr>Arial</vt:lpstr>
      <vt:lpstr>Courier New</vt:lpstr>
      <vt:lpstr>Siemens Sans</vt:lpstr>
      <vt:lpstr>Times New Roman</vt:lpstr>
      <vt:lpstr>Wingdings</vt:lpstr>
      <vt:lpstr>Siemens Energy</vt:lpstr>
      <vt:lpstr>Data Science Training Getting Started with Python &amp; NumPy </vt:lpstr>
      <vt:lpstr>This training was developed for you by  Data Science @ SE GP G QPI QM P Improvement Projects</vt:lpstr>
      <vt:lpstr>How This Training Works</vt:lpstr>
      <vt:lpstr>Introduction</vt:lpstr>
      <vt:lpstr>The training</vt:lpstr>
      <vt:lpstr>Goal Data Science Workshops: Basic understanding how to use Python and EnergyAI to access power plant data</vt:lpstr>
      <vt:lpstr>Our Focus in the Digitalization World is Data Science</vt:lpstr>
      <vt:lpstr>Definition Data Science </vt:lpstr>
      <vt:lpstr>Python - a short overview</vt:lpstr>
      <vt:lpstr>Basic Elements - Data Structures in Python (Grey), Numpy (Green) and Pandas (Orange)</vt:lpstr>
      <vt:lpstr>A Selection of Important Libraries in Python</vt:lpstr>
      <vt:lpstr>Overview: Essential Graphs of Seaborn</vt:lpstr>
      <vt:lpstr>If you want to use Python at SE after this class…</vt:lpstr>
      <vt:lpstr>The Classical Package for Python:  Anaconda (not an official SE-software for download, but often just downloaded anyway)</vt:lpstr>
      <vt:lpstr>A good and “correct” way around Anaconda at ES is EnergyAI: Apply at: https://energyai.siemens-energy.cloud/ For problems contact: contact@energyai.siemens-energy.cloud  </vt:lpstr>
      <vt:lpstr>Go to “Analyse”</vt:lpstr>
      <vt:lpstr>Analyse Layout</vt:lpstr>
      <vt:lpstr>First Steps – File System</vt:lpstr>
    </vt:vector>
  </TitlesOfParts>
  <Company>Siemens Gas and Power</Company>
  <LinksUpToDate>false</LinksUpToDate>
  <SharedDoc>false</SharedDoc>
  <HyperlinkBase>www.siemens-energy.com</HyperlinkBase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ata Science Getting Started</dc:title>
  <dc:creator>Mazzotta, Tim (SE G QPI QM P)</dc:creator>
  <cp:keywords>C_Unrestricted</cp:keywords>
  <dc:description>July 2020
Version 1.1</dc:description>
  <cp:lastModifiedBy>Rainer Sawitzki</cp:lastModifiedBy>
  <cp:revision>4</cp:revision>
  <cp:lastPrinted>2021-10-12T08:47:25Z</cp:lastPrinted>
  <dcterms:created xsi:type="dcterms:W3CDTF">2020-03-05T14:43:26Z</dcterms:created>
  <dcterms:modified xsi:type="dcterms:W3CDTF">2022-03-23T13:35:55Z</dcterms:modified>
  <cp:contentStatus>Template</cp:contentStatus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AdHocReviewCycleID">
    <vt:i4>-1818858214</vt:i4>
  </property>
  <property fmtid="{D5CDD505-2E9C-101B-9397-08002B2CF9AE}" pid="3" name="_NewReviewCycle">
    <vt:lpwstr/>
  </property>
  <property fmtid="{D5CDD505-2E9C-101B-9397-08002B2CF9AE}" pid="4" name="_EmailSubject">
    <vt:lpwstr>Timeline for change over to new Siemens Energy design/Logo/etc.</vt:lpwstr>
  </property>
  <property fmtid="{D5CDD505-2E9C-101B-9397-08002B2CF9AE}" pid="5" name="_AuthorEmail">
    <vt:lpwstr>monika.butler@siemens.com</vt:lpwstr>
  </property>
  <property fmtid="{D5CDD505-2E9C-101B-9397-08002B2CF9AE}" pid="6" name="_AuthorEmailDisplayName">
    <vt:lpwstr>Butler, Monika (SE G QPI PI TIM FA)</vt:lpwstr>
  </property>
  <property fmtid="{D5CDD505-2E9C-101B-9397-08002B2CF9AE}" pid="7" name="Document Confidentiality">
    <vt:lpwstr>Unrestricted</vt:lpwstr>
  </property>
  <property fmtid="{D5CDD505-2E9C-101B-9397-08002B2CF9AE}" pid="8" name="sodocoClasLang">
    <vt:lpwstr>Unrestricted</vt:lpwstr>
  </property>
  <property fmtid="{D5CDD505-2E9C-101B-9397-08002B2CF9AE}" pid="9" name="sodocoClasLangId">
    <vt:i4>0</vt:i4>
  </property>
  <property fmtid="{D5CDD505-2E9C-101B-9397-08002B2CF9AE}" pid="10" name="sodocoClasId">
    <vt:i4>0</vt:i4>
  </property>
  <property fmtid="{D5CDD505-2E9C-101B-9397-08002B2CF9AE}" pid="11" name="ContentTypeId">
    <vt:lpwstr>0x010100397DA0113E919E49B27EBFC36B4F703F</vt:lpwstr>
  </property>
  <property fmtid="{D5CDD505-2E9C-101B-9397-08002B2CF9AE}" pid="12" name="Document_Confidentiality">
    <vt:lpwstr>Unrestricted</vt:lpwstr>
  </property>
  <property fmtid="{D5CDD505-2E9C-101B-9397-08002B2CF9AE}" pid="13" name="_dlc_DocIdItemGuid">
    <vt:lpwstr>ccf6258a-e863-4037-b358-2f27e4760c91</vt:lpwstr>
  </property>
</Properties>
</file>